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webextensions/taskpanes.xml" ContentType="application/vnd.ms-office.webextensiontaskpanes+xml"/>
  <Override PartName="/ppt/webextensions/webextension1.xml" ContentType="application/vnd.ms-office.webextens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customXml/itemProps7.xml" ContentType="application/vnd.openxmlformats-officedocument.customXmlProperties+xml"/>
  <Override PartName="/customXml/itemProps8.xml" ContentType="application/vnd.openxmlformats-officedocument.customXmlProperties+xml"/>
  <Override PartName="/customXml/itemProps9.xml" ContentType="application/vnd.openxmlformats-officedocument.customXmlProperties+xml"/>
  <Override PartName="/customXml/itemProps10.xml" ContentType="application/vnd.openxmlformats-officedocument.customXmlProperties+xml"/>
  <Override PartName="/customXml/itemProps11.xml" ContentType="application/vnd.openxmlformats-officedocument.customXmlProperties+xml"/>
  <Override PartName="/customXml/itemProps12.xml" ContentType="application/vnd.openxmlformats-officedocument.customXmlProperties+xml"/>
  <Override PartName="/customXml/itemProps13.xml" ContentType="application/vnd.openxmlformats-officedocument.customXmlProperties+xml"/>
  <Override PartName="/customXml/itemProps14.xml" ContentType="application/vnd.openxmlformats-officedocument.customXmlProperties+xml"/>
  <Override PartName="/customXml/itemProps15.xml" ContentType="application/vnd.openxmlformats-officedocument.customXmlProperties+xml"/>
  <Override PartName="/customXml/itemProps16.xml" ContentType="application/vnd.openxmlformats-officedocument.customXmlProperties+xml"/>
  <Override PartName="/customXml/itemProps17.xml" ContentType="application/vnd.openxmlformats-officedocument.customXmlProperties+xml"/>
  <Override PartName="/customXml/itemProps18.xml" ContentType="application/vnd.openxmlformats-officedocument.customXmlProperties+xml"/>
  <Override PartName="/customXml/itemProps19.xml" ContentType="application/vnd.openxmlformats-officedocument.customXmlProperties+xml"/>
  <Override PartName="/customXml/itemProps20.xml" ContentType="application/vnd.openxmlformats-officedocument.customXmlProperties+xml"/>
  <Override PartName="/customXml/itemProps21.xml" ContentType="application/vnd.openxmlformats-officedocument.customXmlProperties+xml"/>
  <Override PartName="/customXml/itemProps22.xml" ContentType="application/vnd.openxmlformats-officedocument.customXmlProperties+xml"/>
  <Override PartName="/customXml/itemProps23.xml" ContentType="application/vnd.openxmlformats-officedocument.customXmlProperties+xml"/>
  <Override PartName="/customXml/itemProps24.xml" ContentType="application/vnd.openxmlformats-officedocument.customXmlProperties+xml"/>
  <Override PartName="/customXml/itemProps25.xml" ContentType="application/vnd.openxmlformats-officedocument.customXmlProperties+xml"/>
  <Override PartName="/customXml/itemProps26.xml" ContentType="application/vnd.openxmlformats-officedocument.customXmlProperties+xml"/>
  <Override PartName="/customXml/itemProps27.xml" ContentType="application/vnd.openxmlformats-officedocument.customXmlProperties+xml"/>
  <Override PartName="/customXml/itemProps28.xml" ContentType="application/vnd.openxmlformats-officedocument.customXmlProperties+xml"/>
  <Override PartName="/customXml/itemProps29.xml" ContentType="application/vnd.openxmlformats-officedocument.customXmlProperties+xml"/>
  <Override PartName="/customXml/itemProps30.xml" ContentType="application/vnd.openxmlformats-officedocument.customXmlProperties+xml"/>
  <Override PartName="/customXml/itemProps31.xml" ContentType="application/vnd.openxmlformats-officedocument.customXmlProperties+xml"/>
  <Override PartName="/customXml/itemProps32.xml" ContentType="application/vnd.openxmlformats-officedocument.customXmlProperties+xml"/>
  <Override PartName="/customXml/itemProps33.xml" ContentType="application/vnd.openxmlformats-officedocument.customXmlProperties+xml"/>
  <Override PartName="/customXml/itemProps34.xml" ContentType="application/vnd.openxmlformats-officedocument.customXmlProperties+xml"/>
  <Override PartName="/customXml/itemProps35.xml" ContentType="application/vnd.openxmlformats-officedocument.customXmlProperties+xml"/>
  <Override PartName="/customXml/itemProps36.xml" ContentType="application/vnd.openxmlformats-officedocument.customXmlProperties+xml"/>
  <Override PartName="/customXml/itemProps37.xml" ContentType="application/vnd.openxmlformats-officedocument.customXmlProperties+xml"/>
  <Override PartName="/customXml/itemProps38.xml" ContentType="application/vnd.openxmlformats-officedocument.customXmlProperties+xml"/>
  <Override PartName="/customXml/itemProps39.xml" ContentType="application/vnd.openxmlformats-officedocument.customXmlProperties+xml"/>
  <Override PartName="/customXml/itemProps40.xml" ContentType="application/vnd.openxmlformats-officedocument.customXmlProperties+xml"/>
  <Override PartName="/customXml/itemProps41.xml" ContentType="application/vnd.openxmlformats-officedocument.customXmlProperties+xml"/>
  <Override PartName="/customXml/itemProps42.xml" ContentType="application/vnd.openxmlformats-officedocument.customXmlProperties+xml"/>
  <Override PartName="/customXml/itemProps4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officeDocument/2006/relationships/officeDocument" Target="ppt/presentation.xml"/><Relationship Id="rId1" Type="http://schemas.microsoft.com/office/2011/relationships/webextensiontaskpanes" Target="ppt/webextensions/taskpanes.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4"/>
  </p:sldMasterIdLst>
  <p:notesMasterIdLst>
    <p:notesMasterId r:id="rId66"/>
  </p:notesMasterIdLst>
  <p:sldIdLst>
    <p:sldId id="2141412304" r:id="rId45"/>
    <p:sldId id="2141412305" r:id="rId46"/>
    <p:sldId id="2141412306" r:id="rId47"/>
    <p:sldId id="317" r:id="rId48"/>
    <p:sldId id="2141412242" r:id="rId49"/>
    <p:sldId id="759" r:id="rId50"/>
    <p:sldId id="2141412253" r:id="rId51"/>
    <p:sldId id="2141412293" r:id="rId52"/>
    <p:sldId id="2141412275" r:id="rId53"/>
    <p:sldId id="2141412299" r:id="rId54"/>
    <p:sldId id="2141412300" r:id="rId55"/>
    <p:sldId id="2141412302" r:id="rId56"/>
    <p:sldId id="2141412308" r:id="rId57"/>
    <p:sldId id="2141412246" r:id="rId58"/>
    <p:sldId id="2141412260" r:id="rId59"/>
    <p:sldId id="2141412298" r:id="rId60"/>
    <p:sldId id="2141412269" r:id="rId61"/>
    <p:sldId id="2141412307" r:id="rId62"/>
    <p:sldId id="2141412244" r:id="rId63"/>
    <p:sldId id="2141412267" r:id="rId64"/>
    <p:sldId id="2141412243" r:id="rId65"/>
  </p:sldIdLst>
  <p:sldSz cx="12192000" cy="6858000"/>
  <p:notesSz cx="6858000" cy="9144000"/>
  <p:custDataLst>
    <p:tags r:id="rId67"/>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 Slides" id="{5F5DF5B5-5016-4E89-A433-5D04BD87DF81}">
          <p14:sldIdLst>
            <p14:sldId id="2141412304"/>
            <p14:sldId id="2141412305"/>
            <p14:sldId id="2141412306"/>
          </p14:sldIdLst>
        </p14:section>
        <p14:section name="Objectives, Scope, Coverage" id="{B56514E1-DB70-4499-9498-3F009D7D5A36}">
          <p14:sldIdLst>
            <p14:sldId id="317"/>
            <p14:sldId id="2141412242"/>
          </p14:sldIdLst>
        </p14:section>
        <p14:section name="Objective #1 Observations" id="{BB147F19-B009-482F-976E-430AB20AAD63}">
          <p14:sldIdLst>
            <p14:sldId id="759"/>
            <p14:sldId id="2141412253"/>
            <p14:sldId id="2141412293"/>
            <p14:sldId id="2141412275"/>
            <p14:sldId id="2141412299"/>
            <p14:sldId id="2141412300"/>
            <p14:sldId id="2141412302"/>
            <p14:sldId id="2141412308"/>
          </p14:sldIdLst>
        </p14:section>
        <p14:section name="Objective #2 Observations" id="{EC232B59-1514-425E-B050-F870168F0F67}">
          <p14:sldIdLst>
            <p14:sldId id="2141412246"/>
            <p14:sldId id="2141412260"/>
            <p14:sldId id="2141412298"/>
            <p14:sldId id="2141412269"/>
            <p14:sldId id="2141412307"/>
          </p14:sldIdLst>
        </p14:section>
        <p14:section name="End Slides" id="{D3E5140A-A2EF-403A-91EE-8437282194F1}">
          <p14:sldIdLst>
            <p14:sldId id="2141412244"/>
            <p14:sldId id="2141412267"/>
            <p14:sldId id="2141412243"/>
          </p14:sldIdLst>
        </p14:section>
      </p14:sectionLst>
    </p:ex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7770F835-BA88-FE54-5E85-5B49BE325CFD}" name="Augustine Agyeman-Duah" initials="AAD" userId="S::Augustine.Agyeman-Duah@theglobalfund.org::6c7487e6-2587-4dd1-9383-dcbe72f3ff39" providerId="AD"/>
  <p188:author id="{4673A37D-B9E2-2D28-F7E9-75777C4D3351}" name="Marianne Moussallem" initials="MM" userId="Marianne Moussallem" providerId="None"/>
  <p188:author id="{E203E89C-2192-7CC7-B78B-BCB9747E4FC8}" name="Nezar Al-Hadaii" initials="NAH" userId="S::Nezar.Al-Hadaii@theglobalfund.org::cabdbaee-419d-47d2-a259-be963c0a0b13" providerId="AD"/>
  <p188:author id="{3D9524BE-1AD1-4D3F-E866-93B04C61BBDB}" name="Roy Wakim" initials="RW" userId="4a72f2d2d1e57428" providerId="Windows Live"/>
  <p188:author id="{1880B9DF-4D67-570A-B232-7EC136A54FB7}" name="George Ndegwa" initials="GN" userId="S::George.Ndegwa@theglobalfund.org::4f947f25-b204-465f-9d8c-5dca398768a3"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CF2BE95C-608A-4F2F-9D28-39ADE2B20E72}" v="4" dt="2023-10-26T03:52:22.129"/>
  </p1510:revLst>
</p1510:revInfo>
</file>

<file path=ppt/tableStyles.xml><?xml version="1.0" encoding="utf-8"?>
<a:tblStyleLst xmlns:a="http://schemas.openxmlformats.org/drawingml/2006/main" def="{9D7B26C5-4107-4FEC-AEDC-1716B250A1EF}">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89806" autoAdjust="0"/>
  </p:normalViewPr>
  <p:slideViewPr>
    <p:cSldViewPr snapToGrid="0">
      <p:cViewPr varScale="1">
        <p:scale>
          <a:sx n="57" d="100"/>
          <a:sy n="57" d="100"/>
        </p:scale>
        <p:origin x="924" y="32"/>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customXml" Target="../customXml/item13.xml"/><Relationship Id="rId18" Type="http://schemas.openxmlformats.org/officeDocument/2006/relationships/customXml" Target="../customXml/item18.xml"/><Relationship Id="rId26" Type="http://schemas.openxmlformats.org/officeDocument/2006/relationships/customXml" Target="../customXml/item26.xml"/><Relationship Id="rId39" Type="http://schemas.openxmlformats.org/officeDocument/2006/relationships/customXml" Target="../customXml/item39.xml"/><Relationship Id="rId21" Type="http://schemas.openxmlformats.org/officeDocument/2006/relationships/customXml" Target="../customXml/item21.xml"/><Relationship Id="rId34" Type="http://schemas.openxmlformats.org/officeDocument/2006/relationships/customXml" Target="../customXml/item34.xml"/><Relationship Id="rId42" Type="http://schemas.openxmlformats.org/officeDocument/2006/relationships/customXml" Target="../customXml/item42.xml"/><Relationship Id="rId47" Type="http://schemas.openxmlformats.org/officeDocument/2006/relationships/slide" Target="slides/slide3.xml"/><Relationship Id="rId50" Type="http://schemas.openxmlformats.org/officeDocument/2006/relationships/slide" Target="slides/slide6.xml"/><Relationship Id="rId55" Type="http://schemas.openxmlformats.org/officeDocument/2006/relationships/slide" Target="slides/slide11.xml"/><Relationship Id="rId63" Type="http://schemas.openxmlformats.org/officeDocument/2006/relationships/slide" Target="slides/slide19.xml"/><Relationship Id="rId68" Type="http://schemas.openxmlformats.org/officeDocument/2006/relationships/presProps" Target="presProps.xml"/><Relationship Id="rId7" Type="http://schemas.openxmlformats.org/officeDocument/2006/relationships/customXml" Target="../customXml/item7.xml"/><Relationship Id="rId71"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customXml" Target="../customXml/item16.xml"/><Relationship Id="rId29" Type="http://schemas.openxmlformats.org/officeDocument/2006/relationships/customXml" Target="../customXml/item29.xml"/><Relationship Id="rId11" Type="http://schemas.openxmlformats.org/officeDocument/2006/relationships/customXml" Target="../customXml/item11.xml"/><Relationship Id="rId24" Type="http://schemas.openxmlformats.org/officeDocument/2006/relationships/customXml" Target="../customXml/item24.xml"/><Relationship Id="rId32" Type="http://schemas.openxmlformats.org/officeDocument/2006/relationships/customXml" Target="../customXml/item32.xml"/><Relationship Id="rId37" Type="http://schemas.openxmlformats.org/officeDocument/2006/relationships/customXml" Target="../customXml/item37.xml"/><Relationship Id="rId40" Type="http://schemas.openxmlformats.org/officeDocument/2006/relationships/customXml" Target="../customXml/item40.xml"/><Relationship Id="rId45" Type="http://schemas.openxmlformats.org/officeDocument/2006/relationships/slide" Target="slides/slide1.xml"/><Relationship Id="rId53" Type="http://schemas.openxmlformats.org/officeDocument/2006/relationships/slide" Target="slides/slide9.xml"/><Relationship Id="rId58" Type="http://schemas.openxmlformats.org/officeDocument/2006/relationships/slide" Target="slides/slide14.xml"/><Relationship Id="rId66" Type="http://schemas.openxmlformats.org/officeDocument/2006/relationships/notesMaster" Target="notesMasters/notesMaster1.xml"/><Relationship Id="rId74" Type="http://schemas.microsoft.com/office/2018/10/relationships/authors" Target="authors.xml"/><Relationship Id="rId5" Type="http://schemas.openxmlformats.org/officeDocument/2006/relationships/customXml" Target="../customXml/item5.xml"/><Relationship Id="rId15" Type="http://schemas.openxmlformats.org/officeDocument/2006/relationships/customXml" Target="../customXml/item15.xml"/><Relationship Id="rId23" Type="http://schemas.openxmlformats.org/officeDocument/2006/relationships/customXml" Target="../customXml/item23.xml"/><Relationship Id="rId28" Type="http://schemas.openxmlformats.org/officeDocument/2006/relationships/customXml" Target="../customXml/item28.xml"/><Relationship Id="rId36" Type="http://schemas.openxmlformats.org/officeDocument/2006/relationships/customXml" Target="../customXml/item36.xml"/><Relationship Id="rId49" Type="http://schemas.openxmlformats.org/officeDocument/2006/relationships/slide" Target="slides/slide5.xml"/><Relationship Id="rId57" Type="http://schemas.openxmlformats.org/officeDocument/2006/relationships/slide" Target="slides/slide13.xml"/><Relationship Id="rId61" Type="http://schemas.openxmlformats.org/officeDocument/2006/relationships/slide" Target="slides/slide17.xml"/><Relationship Id="rId10" Type="http://schemas.openxmlformats.org/officeDocument/2006/relationships/customXml" Target="../customXml/item10.xml"/><Relationship Id="rId19" Type="http://schemas.openxmlformats.org/officeDocument/2006/relationships/customXml" Target="../customXml/item19.xml"/><Relationship Id="rId31" Type="http://schemas.openxmlformats.org/officeDocument/2006/relationships/customXml" Target="../customXml/item31.xml"/><Relationship Id="rId44" Type="http://schemas.openxmlformats.org/officeDocument/2006/relationships/slideMaster" Target="slideMasters/slideMaster1.xml"/><Relationship Id="rId52" Type="http://schemas.openxmlformats.org/officeDocument/2006/relationships/slide" Target="slides/slide8.xml"/><Relationship Id="rId60" Type="http://schemas.openxmlformats.org/officeDocument/2006/relationships/slide" Target="slides/slide16.xml"/><Relationship Id="rId65" Type="http://schemas.openxmlformats.org/officeDocument/2006/relationships/slide" Target="slides/slide21.xml"/><Relationship Id="rId73" Type="http://schemas.microsoft.com/office/2015/10/relationships/revisionInfo" Target="revisionInfo.xml"/><Relationship Id="rId4" Type="http://schemas.openxmlformats.org/officeDocument/2006/relationships/customXml" Target="../customXml/item4.xml"/><Relationship Id="rId9" Type="http://schemas.openxmlformats.org/officeDocument/2006/relationships/customXml" Target="../customXml/item9.xml"/><Relationship Id="rId14" Type="http://schemas.openxmlformats.org/officeDocument/2006/relationships/customXml" Target="../customXml/item14.xml"/><Relationship Id="rId22" Type="http://schemas.openxmlformats.org/officeDocument/2006/relationships/customXml" Target="../customXml/item22.xml"/><Relationship Id="rId27" Type="http://schemas.openxmlformats.org/officeDocument/2006/relationships/customXml" Target="../customXml/item27.xml"/><Relationship Id="rId30" Type="http://schemas.openxmlformats.org/officeDocument/2006/relationships/customXml" Target="../customXml/item30.xml"/><Relationship Id="rId35" Type="http://schemas.openxmlformats.org/officeDocument/2006/relationships/customXml" Target="../customXml/item35.xml"/><Relationship Id="rId43" Type="http://schemas.openxmlformats.org/officeDocument/2006/relationships/customXml" Target="../customXml/item43.xml"/><Relationship Id="rId48" Type="http://schemas.openxmlformats.org/officeDocument/2006/relationships/slide" Target="slides/slide4.xml"/><Relationship Id="rId56" Type="http://schemas.openxmlformats.org/officeDocument/2006/relationships/slide" Target="slides/slide12.xml"/><Relationship Id="rId64" Type="http://schemas.openxmlformats.org/officeDocument/2006/relationships/slide" Target="slides/slide20.xml"/><Relationship Id="rId69" Type="http://schemas.openxmlformats.org/officeDocument/2006/relationships/viewProps" Target="viewProps.xml"/><Relationship Id="rId8" Type="http://schemas.openxmlformats.org/officeDocument/2006/relationships/customXml" Target="../customXml/item8.xml"/><Relationship Id="rId51" Type="http://schemas.openxmlformats.org/officeDocument/2006/relationships/slide" Target="slides/slide7.xml"/><Relationship Id="rId72" Type="http://schemas.microsoft.com/office/2016/11/relationships/changesInfo" Target="changesInfos/changesInfo1.xml"/><Relationship Id="rId3" Type="http://schemas.openxmlformats.org/officeDocument/2006/relationships/customXml" Target="../customXml/item3.xml"/><Relationship Id="rId12" Type="http://schemas.openxmlformats.org/officeDocument/2006/relationships/customXml" Target="../customXml/item12.xml"/><Relationship Id="rId17" Type="http://schemas.openxmlformats.org/officeDocument/2006/relationships/customXml" Target="../customXml/item17.xml"/><Relationship Id="rId25" Type="http://schemas.openxmlformats.org/officeDocument/2006/relationships/customXml" Target="../customXml/item25.xml"/><Relationship Id="rId33" Type="http://schemas.openxmlformats.org/officeDocument/2006/relationships/customXml" Target="../customXml/item33.xml"/><Relationship Id="rId38" Type="http://schemas.openxmlformats.org/officeDocument/2006/relationships/customXml" Target="../customXml/item38.xml"/><Relationship Id="rId46" Type="http://schemas.openxmlformats.org/officeDocument/2006/relationships/slide" Target="slides/slide2.xml"/><Relationship Id="rId59" Type="http://schemas.openxmlformats.org/officeDocument/2006/relationships/slide" Target="slides/slide15.xml"/><Relationship Id="rId67" Type="http://schemas.openxmlformats.org/officeDocument/2006/relationships/tags" Target="tags/tag1.xml"/><Relationship Id="rId20" Type="http://schemas.openxmlformats.org/officeDocument/2006/relationships/customXml" Target="../customXml/item20.xml"/><Relationship Id="rId41" Type="http://schemas.openxmlformats.org/officeDocument/2006/relationships/customXml" Target="../customXml/item41.xml"/><Relationship Id="rId54" Type="http://schemas.openxmlformats.org/officeDocument/2006/relationships/slide" Target="slides/slide10.xml"/><Relationship Id="rId62" Type="http://schemas.openxmlformats.org/officeDocument/2006/relationships/slide" Target="slides/slide18.xml"/><Relationship Id="rId70"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customXml" Target="../customXml/item6.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Nezar Al-Hadaii" userId="cabdbaee-419d-47d2-a259-be963c0a0b13" providerId="ADAL" clId="{CF2BE95C-608A-4F2F-9D28-39ADE2B20E72}"/>
    <pc:docChg chg="undo custSel delSld modSld modSection">
      <pc:chgData name="Nezar Al-Hadaii" userId="cabdbaee-419d-47d2-a259-be963c0a0b13" providerId="ADAL" clId="{CF2BE95C-608A-4F2F-9D28-39ADE2B20E72}" dt="2023-11-01T15:56:22.793" v="197" actId="255"/>
      <pc:docMkLst>
        <pc:docMk/>
      </pc:docMkLst>
      <pc:sldChg chg="modSp mod addCm delCm">
        <pc:chgData name="Nezar Al-Hadaii" userId="cabdbaee-419d-47d2-a259-be963c0a0b13" providerId="ADAL" clId="{CF2BE95C-608A-4F2F-9D28-39ADE2B20E72}" dt="2023-10-26T03:56:08.801" v="104" actId="113"/>
        <pc:sldMkLst>
          <pc:docMk/>
          <pc:sldMk cId="3085246207" sldId="759"/>
        </pc:sldMkLst>
        <pc:spChg chg="mod">
          <ac:chgData name="Nezar Al-Hadaii" userId="cabdbaee-419d-47d2-a259-be963c0a0b13" providerId="ADAL" clId="{CF2BE95C-608A-4F2F-9D28-39ADE2B20E72}" dt="2023-10-26T03:56:08.801" v="104" actId="113"/>
          <ac:spMkLst>
            <pc:docMk/>
            <pc:sldMk cId="3085246207" sldId="759"/>
            <ac:spMk id="10" creationId="{8E73226F-AEB6-7923-FEFF-635631789D53}"/>
          </ac:spMkLst>
        </pc:spChg>
        <pc:extLst>
          <p:ext xmlns:p="http://schemas.openxmlformats.org/presentationml/2006/main" uri="{D6D511B9-2390-475A-947B-AFAB55BFBCF1}">
            <pc226:cmChg xmlns:pc226="http://schemas.microsoft.com/office/powerpoint/2022/06/main/command" chg="add del">
              <pc226:chgData name="Nezar Al-Hadaii" userId="cabdbaee-419d-47d2-a259-be963c0a0b13" providerId="ADAL" clId="{CF2BE95C-608A-4F2F-9D28-39ADE2B20E72}" dt="2023-10-26T03:55:02.046" v="100"/>
              <pc2:cmMkLst xmlns:pc2="http://schemas.microsoft.com/office/powerpoint/2019/9/main/command">
                <pc:docMk/>
                <pc:sldMk cId="3085246207" sldId="759"/>
                <pc2:cmMk id="{0563F284-188B-43E2-BE7D-5840E39E7012}"/>
              </pc2:cmMkLst>
            </pc226:cmChg>
          </p:ext>
        </pc:extLst>
      </pc:sldChg>
      <pc:sldChg chg="addSp modSp mod delCm">
        <pc:chgData name="Nezar Al-Hadaii" userId="cabdbaee-419d-47d2-a259-be963c0a0b13" providerId="ADAL" clId="{CF2BE95C-608A-4F2F-9D28-39ADE2B20E72}" dt="2023-11-01T15:56:11.316" v="196" actId="255"/>
        <pc:sldMkLst>
          <pc:docMk/>
          <pc:sldMk cId="3658202643" sldId="2141412269"/>
        </pc:sldMkLst>
        <pc:spChg chg="mod">
          <ac:chgData name="Nezar Al-Hadaii" userId="cabdbaee-419d-47d2-a259-be963c0a0b13" providerId="ADAL" clId="{CF2BE95C-608A-4F2F-9D28-39ADE2B20E72}" dt="2023-11-01T15:56:11.316" v="196" actId="255"/>
          <ac:spMkLst>
            <pc:docMk/>
            <pc:sldMk cId="3658202643" sldId="2141412269"/>
            <ac:spMk id="4" creationId="{7EFEA91E-E53D-2856-DE0B-183F79394223}"/>
          </ac:spMkLst>
        </pc:spChg>
        <pc:spChg chg="mod">
          <ac:chgData name="Nezar Al-Hadaii" userId="cabdbaee-419d-47d2-a259-be963c0a0b13" providerId="ADAL" clId="{CF2BE95C-608A-4F2F-9D28-39ADE2B20E72}" dt="2023-11-01T15:56:05.133" v="195" actId="255"/>
          <ac:spMkLst>
            <pc:docMk/>
            <pc:sldMk cId="3658202643" sldId="2141412269"/>
            <ac:spMk id="5" creationId="{B5D69466-12D8-096F-096C-F729E2DC6EB1}"/>
          </ac:spMkLst>
        </pc:spChg>
        <pc:spChg chg="add mod">
          <ac:chgData name="Nezar Al-Hadaii" userId="cabdbaee-419d-47d2-a259-be963c0a0b13" providerId="ADAL" clId="{CF2BE95C-608A-4F2F-9D28-39ADE2B20E72}" dt="2023-11-01T15:56:00.134" v="194" actId="255"/>
          <ac:spMkLst>
            <pc:docMk/>
            <pc:sldMk cId="3658202643" sldId="2141412269"/>
            <ac:spMk id="6" creationId="{9C94BA38-2782-5D22-C978-20241DE5212E}"/>
          </ac:spMkLst>
        </pc:spChg>
        <pc:spChg chg="mod">
          <ac:chgData name="Nezar Al-Hadaii" userId="cabdbaee-419d-47d2-a259-be963c0a0b13" providerId="ADAL" clId="{CF2BE95C-608A-4F2F-9D28-39ADE2B20E72}" dt="2023-10-26T03:47:12.408" v="6" actId="1076"/>
          <ac:spMkLst>
            <pc:docMk/>
            <pc:sldMk cId="3658202643" sldId="2141412269"/>
            <ac:spMk id="7" creationId="{528205A8-4CCF-38CB-9D33-A2E9BB381717}"/>
          </ac:spMkLst>
        </pc:spChg>
        <pc:spChg chg="mod">
          <ac:chgData name="Nezar Al-Hadaii" userId="cabdbaee-419d-47d2-a259-be963c0a0b13" providerId="ADAL" clId="{CF2BE95C-608A-4F2F-9D28-39ADE2B20E72}" dt="2023-10-26T03:59:29.954" v="189" actId="20577"/>
          <ac:spMkLst>
            <pc:docMk/>
            <pc:sldMk cId="3658202643" sldId="2141412269"/>
            <ac:spMk id="8" creationId="{C3024DEC-3465-EDAF-C869-EE83AFA5ED11}"/>
          </ac:spMkLst>
        </pc:spChg>
        <pc:spChg chg="add mod">
          <ac:chgData name="Nezar Al-Hadaii" userId="cabdbaee-419d-47d2-a259-be963c0a0b13" providerId="ADAL" clId="{CF2BE95C-608A-4F2F-9D28-39ADE2B20E72}" dt="2023-10-26T03:47:28.858" v="9" actId="1076"/>
          <ac:spMkLst>
            <pc:docMk/>
            <pc:sldMk cId="3658202643" sldId="2141412269"/>
            <ac:spMk id="9" creationId="{8F785D0C-566A-4B85-EF06-DA0E9C7412CB}"/>
          </ac:spMkLst>
        </pc:spChg>
        <pc:spChg chg="mod">
          <ac:chgData name="Nezar Al-Hadaii" userId="cabdbaee-419d-47d2-a259-be963c0a0b13" providerId="ADAL" clId="{CF2BE95C-608A-4F2F-9D28-39ADE2B20E72}" dt="2023-11-01T15:55:40.609" v="191" actId="255"/>
          <ac:spMkLst>
            <pc:docMk/>
            <pc:sldMk cId="3658202643" sldId="2141412269"/>
            <ac:spMk id="25" creationId="{749AB300-3D6B-5E0D-8AAE-BCC95352EB24}"/>
          </ac:spMkLst>
        </pc:spChg>
        <pc:graphicFrameChg chg="modGraphic">
          <ac:chgData name="Nezar Al-Hadaii" userId="cabdbaee-419d-47d2-a259-be963c0a0b13" providerId="ADAL" clId="{CF2BE95C-608A-4F2F-9D28-39ADE2B20E72}" dt="2023-10-26T03:59:05.264" v="174" actId="14100"/>
          <ac:graphicFrameMkLst>
            <pc:docMk/>
            <pc:sldMk cId="3658202643" sldId="2141412269"/>
            <ac:graphicFrameMk id="3" creationId="{01FFCF3B-D72D-9F07-6977-AAE1FB59A1D0}"/>
          </ac:graphicFrameMkLst>
        </pc:graphicFrameChg>
        <pc:extLst>
          <p:ext xmlns:p="http://schemas.openxmlformats.org/presentationml/2006/main" uri="{D6D511B9-2390-475A-947B-AFAB55BFBCF1}">
            <pc226:cmChg xmlns:pc226="http://schemas.microsoft.com/office/powerpoint/2022/06/main/command" chg="del">
              <pc226:chgData name="Nezar Al-Hadaii" userId="cabdbaee-419d-47d2-a259-be963c0a0b13" providerId="ADAL" clId="{CF2BE95C-608A-4F2F-9D28-39ADE2B20E72}" dt="2023-10-26T03:54:31.861" v="98"/>
              <pc2:cmMkLst xmlns:pc2="http://schemas.microsoft.com/office/powerpoint/2019/9/main/command">
                <pc:docMk/>
                <pc:sldMk cId="3658202643" sldId="2141412269"/>
                <pc2:cmMk id="{ECD61788-B95B-46A5-9F8A-6D40E475CB38}"/>
              </pc2:cmMkLst>
            </pc226:cmChg>
          </p:ext>
        </pc:extLst>
      </pc:sldChg>
      <pc:sldChg chg="modSp mod">
        <pc:chgData name="Nezar Al-Hadaii" userId="cabdbaee-419d-47d2-a259-be963c0a0b13" providerId="ADAL" clId="{CF2BE95C-608A-4F2F-9D28-39ADE2B20E72}" dt="2023-10-26T03:57:24.785" v="156" actId="20577"/>
        <pc:sldMkLst>
          <pc:docMk/>
          <pc:sldMk cId="3168860834" sldId="2141412275"/>
        </pc:sldMkLst>
        <pc:spChg chg="mod">
          <ac:chgData name="Nezar Al-Hadaii" userId="cabdbaee-419d-47d2-a259-be963c0a0b13" providerId="ADAL" clId="{CF2BE95C-608A-4F2F-9D28-39ADE2B20E72}" dt="2023-10-26T03:57:24.785" v="156" actId="20577"/>
          <ac:spMkLst>
            <pc:docMk/>
            <pc:sldMk cId="3168860834" sldId="2141412275"/>
            <ac:spMk id="26" creationId="{0AF7F75F-32D6-5024-A062-C71128FA0EAB}"/>
          </ac:spMkLst>
        </pc:spChg>
      </pc:sldChg>
      <pc:sldChg chg="modSp mod delCm">
        <pc:chgData name="Nezar Al-Hadaii" userId="cabdbaee-419d-47d2-a259-be963c0a0b13" providerId="ADAL" clId="{CF2BE95C-608A-4F2F-9D28-39ADE2B20E72}" dt="2023-10-26T04:00:11.743" v="190" actId="948"/>
        <pc:sldMkLst>
          <pc:docMk/>
          <pc:sldMk cId="2391509209" sldId="2141412293"/>
        </pc:sldMkLst>
        <pc:spChg chg="mod">
          <ac:chgData name="Nezar Al-Hadaii" userId="cabdbaee-419d-47d2-a259-be963c0a0b13" providerId="ADAL" clId="{CF2BE95C-608A-4F2F-9D28-39ADE2B20E72}" dt="2023-10-26T04:00:11.743" v="190" actId="948"/>
          <ac:spMkLst>
            <pc:docMk/>
            <pc:sldMk cId="2391509209" sldId="2141412293"/>
            <ac:spMk id="26" creationId="{0AF7F75F-32D6-5024-A062-C71128FA0EAB}"/>
          </ac:spMkLst>
        </pc:spChg>
        <pc:extLst>
          <p:ext xmlns:p="http://schemas.openxmlformats.org/presentationml/2006/main" uri="{D6D511B9-2390-475A-947B-AFAB55BFBCF1}">
            <pc226:cmChg xmlns:pc226="http://schemas.microsoft.com/office/powerpoint/2022/06/main/command" chg="del">
              <pc226:chgData name="Nezar Al-Hadaii" userId="cabdbaee-419d-47d2-a259-be963c0a0b13" providerId="ADAL" clId="{CF2BE95C-608A-4F2F-9D28-39ADE2B20E72}" dt="2023-10-26T03:55:02.046" v="100"/>
              <pc2:cmMkLst xmlns:pc2="http://schemas.microsoft.com/office/powerpoint/2019/9/main/command">
                <pc:docMk/>
                <pc:sldMk cId="2391509209" sldId="2141412293"/>
                <pc2:cmMk id="{C133E960-BE2F-4A95-A94D-2E0BA400F29B}"/>
              </pc2:cmMkLst>
            </pc226:cmChg>
            <pc226:cmChg xmlns:pc226="http://schemas.microsoft.com/office/powerpoint/2022/06/main/command" chg="del">
              <pc226:chgData name="Nezar Al-Hadaii" userId="cabdbaee-419d-47d2-a259-be963c0a0b13" providerId="ADAL" clId="{CF2BE95C-608A-4F2F-9D28-39ADE2B20E72}" dt="2023-10-26T03:55:02.046" v="100"/>
              <pc2:cmMkLst xmlns:pc2="http://schemas.microsoft.com/office/powerpoint/2019/9/main/command">
                <pc:docMk/>
                <pc:sldMk cId="2391509209" sldId="2141412293"/>
                <pc2:cmMk id="{854AAAB1-C282-4CBE-AC42-1F36B287B01A}"/>
              </pc2:cmMkLst>
            </pc226:cmChg>
          </p:ext>
        </pc:extLst>
      </pc:sldChg>
      <pc:sldChg chg="modSp mod delCm">
        <pc:chgData name="Nezar Al-Hadaii" userId="cabdbaee-419d-47d2-a259-be963c0a0b13" providerId="ADAL" clId="{CF2BE95C-608A-4F2F-9D28-39ADE2B20E72}" dt="2023-10-26T03:54:18.717" v="97" actId="6549"/>
        <pc:sldMkLst>
          <pc:docMk/>
          <pc:sldMk cId="2895723522" sldId="2141412298"/>
        </pc:sldMkLst>
        <pc:spChg chg="mod">
          <ac:chgData name="Nezar Al-Hadaii" userId="cabdbaee-419d-47d2-a259-be963c0a0b13" providerId="ADAL" clId="{CF2BE95C-608A-4F2F-9D28-39ADE2B20E72}" dt="2023-10-26T03:54:18.717" v="97" actId="6549"/>
          <ac:spMkLst>
            <pc:docMk/>
            <pc:sldMk cId="2895723522" sldId="2141412298"/>
            <ac:spMk id="7" creationId="{906C3CAE-38C3-DAF4-0F30-EA7E55E68540}"/>
          </ac:spMkLst>
        </pc:spChg>
        <pc:extLst>
          <p:ext xmlns:p="http://schemas.openxmlformats.org/presentationml/2006/main" uri="{D6D511B9-2390-475A-947B-AFAB55BFBCF1}">
            <pc226:cmChg xmlns:pc226="http://schemas.microsoft.com/office/powerpoint/2022/06/main/command" chg="del">
              <pc226:chgData name="Nezar Al-Hadaii" userId="cabdbaee-419d-47d2-a259-be963c0a0b13" providerId="ADAL" clId="{CF2BE95C-608A-4F2F-9D28-39ADE2B20E72}" dt="2023-10-26T03:51:49.140" v="12"/>
              <pc2:cmMkLst xmlns:pc2="http://schemas.microsoft.com/office/powerpoint/2019/9/main/command">
                <pc:docMk/>
                <pc:sldMk cId="2895723522" sldId="2141412298"/>
                <pc2:cmMk id="{204E4F30-8F2E-4175-8FB0-7BFC6DB8B8E1}"/>
              </pc2:cmMkLst>
            </pc226:cmChg>
            <pc226:cmChg xmlns:pc226="http://schemas.microsoft.com/office/powerpoint/2022/06/main/command" chg="del">
              <pc226:chgData name="Nezar Al-Hadaii" userId="cabdbaee-419d-47d2-a259-be963c0a0b13" providerId="ADAL" clId="{CF2BE95C-608A-4F2F-9D28-39ADE2B20E72}" dt="2023-10-26T03:51:51.674" v="13"/>
              <pc2:cmMkLst xmlns:pc2="http://schemas.microsoft.com/office/powerpoint/2019/9/main/command">
                <pc:docMk/>
                <pc:sldMk cId="2895723522" sldId="2141412298"/>
                <pc2:cmMk id="{8884D1DA-F2B2-490C-BE81-59172E68FC65}"/>
              </pc2:cmMkLst>
            </pc226:cmChg>
          </p:ext>
        </pc:extLst>
      </pc:sldChg>
      <pc:sldChg chg="modSp mod delCm">
        <pc:chgData name="Nezar Al-Hadaii" userId="cabdbaee-419d-47d2-a259-be963c0a0b13" providerId="ADAL" clId="{CF2BE95C-608A-4F2F-9D28-39ADE2B20E72}" dt="2023-10-26T03:58:01.677" v="170" actId="20577"/>
        <pc:sldMkLst>
          <pc:docMk/>
          <pc:sldMk cId="435647478" sldId="2141412299"/>
        </pc:sldMkLst>
        <pc:spChg chg="mod">
          <ac:chgData name="Nezar Al-Hadaii" userId="cabdbaee-419d-47d2-a259-be963c0a0b13" providerId="ADAL" clId="{CF2BE95C-608A-4F2F-9D28-39ADE2B20E72}" dt="2023-10-26T03:58:01.677" v="170" actId="20577"/>
          <ac:spMkLst>
            <pc:docMk/>
            <pc:sldMk cId="435647478" sldId="2141412299"/>
            <ac:spMk id="26" creationId="{0AF7F75F-32D6-5024-A062-C71128FA0EAB}"/>
          </ac:spMkLst>
        </pc:spChg>
        <pc:extLst>
          <p:ext xmlns:p="http://schemas.openxmlformats.org/presentationml/2006/main" uri="{D6D511B9-2390-475A-947B-AFAB55BFBCF1}">
            <pc226:cmChg xmlns:pc226="http://schemas.microsoft.com/office/powerpoint/2022/06/main/command" chg="del">
              <pc226:chgData name="Nezar Al-Hadaii" userId="cabdbaee-419d-47d2-a259-be963c0a0b13" providerId="ADAL" clId="{CF2BE95C-608A-4F2F-9D28-39ADE2B20E72}" dt="2023-10-26T03:55:02.046" v="100"/>
              <pc2:cmMkLst xmlns:pc2="http://schemas.microsoft.com/office/powerpoint/2019/9/main/command">
                <pc:docMk/>
                <pc:sldMk cId="435647478" sldId="2141412299"/>
                <pc2:cmMk id="{446DB6E1-C461-4E56-AA50-7B584BB911EF}"/>
              </pc2:cmMkLst>
            </pc226:cmChg>
          </p:ext>
        </pc:extLst>
      </pc:sldChg>
      <pc:sldChg chg="del">
        <pc:chgData name="Nezar Al-Hadaii" userId="cabdbaee-419d-47d2-a259-be963c0a0b13" providerId="ADAL" clId="{CF2BE95C-608A-4F2F-9D28-39ADE2B20E72}" dt="2023-10-26T03:51:11.731" v="10" actId="47"/>
        <pc:sldMkLst>
          <pc:docMk/>
          <pc:sldMk cId="3953833234" sldId="2141412301"/>
        </pc:sldMkLst>
      </pc:sldChg>
      <pc:sldChg chg="delCm">
        <pc:chgData name="Nezar Al-Hadaii" userId="cabdbaee-419d-47d2-a259-be963c0a0b13" providerId="ADAL" clId="{CF2BE95C-608A-4F2F-9D28-39ADE2B20E72}" dt="2023-10-26T03:51:28.143" v="11"/>
        <pc:sldMkLst>
          <pc:docMk/>
          <pc:sldMk cId="1804553312" sldId="2141412302"/>
        </pc:sldMkLst>
        <pc:extLst>
          <p:ext xmlns:p="http://schemas.openxmlformats.org/presentationml/2006/main" uri="{D6D511B9-2390-475A-947B-AFAB55BFBCF1}">
            <pc226:cmChg xmlns:pc226="http://schemas.microsoft.com/office/powerpoint/2022/06/main/command" chg="del">
              <pc226:chgData name="Nezar Al-Hadaii" userId="cabdbaee-419d-47d2-a259-be963c0a0b13" providerId="ADAL" clId="{CF2BE95C-608A-4F2F-9D28-39ADE2B20E72}" dt="2023-10-26T03:51:28.143" v="11"/>
              <pc2:cmMkLst xmlns:pc2="http://schemas.microsoft.com/office/powerpoint/2019/9/main/command">
                <pc:docMk/>
                <pc:sldMk cId="1804553312" sldId="2141412302"/>
                <pc2:cmMk id="{2512E44B-0DB5-46AE-BF9C-2111C923815E}"/>
              </pc2:cmMkLst>
            </pc226:cmChg>
          </p:ext>
        </pc:extLst>
      </pc:sldChg>
      <pc:sldChg chg="modSp mod">
        <pc:chgData name="Nezar Al-Hadaii" userId="cabdbaee-419d-47d2-a259-be963c0a0b13" providerId="ADAL" clId="{CF2BE95C-608A-4F2F-9D28-39ADE2B20E72}" dt="2023-11-01T15:56:22.793" v="197" actId="255"/>
        <pc:sldMkLst>
          <pc:docMk/>
          <pc:sldMk cId="3921954971" sldId="2141412307"/>
        </pc:sldMkLst>
        <pc:spChg chg="mod">
          <ac:chgData name="Nezar Al-Hadaii" userId="cabdbaee-419d-47d2-a259-be963c0a0b13" providerId="ADAL" clId="{CF2BE95C-608A-4F2F-9D28-39ADE2B20E72}" dt="2023-11-01T15:56:22.793" v="197" actId="255"/>
          <ac:spMkLst>
            <pc:docMk/>
            <pc:sldMk cId="3921954971" sldId="2141412307"/>
            <ac:spMk id="25" creationId="{749AB300-3D6B-5E0D-8AAE-BCC95352EB24}"/>
          </ac:spMkLst>
        </pc:spChg>
      </pc:sldChg>
      <pc:sldChg chg="modSp mod">
        <pc:chgData name="Nezar Al-Hadaii" userId="cabdbaee-419d-47d2-a259-be963c0a0b13" providerId="ADAL" clId="{CF2BE95C-608A-4F2F-9D28-39ADE2B20E72}" dt="2023-10-26T03:44:47.251" v="2"/>
        <pc:sldMkLst>
          <pc:docMk/>
          <pc:sldMk cId="4209650805" sldId="2141412308"/>
        </pc:sldMkLst>
        <pc:spChg chg="mod">
          <ac:chgData name="Nezar Al-Hadaii" userId="cabdbaee-419d-47d2-a259-be963c0a0b13" providerId="ADAL" clId="{CF2BE95C-608A-4F2F-9D28-39ADE2B20E72}" dt="2023-10-26T03:44:47.251" v="2"/>
          <ac:spMkLst>
            <pc:docMk/>
            <pc:sldMk cId="4209650805" sldId="2141412308"/>
            <ac:spMk id="5" creationId="{6C3FF9B3-94DD-71C1-AFEF-72CB1F469734}"/>
          </ac:spMkLst>
        </pc:sp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79B25B0-38AD-4DCC-B5CD-BFC49102A9DA}" type="datetimeFigureOut">
              <a:rPr lang="en-GB" smtClean="0"/>
              <a:t>01/11/2023</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C131254-3E2A-413C-B32A-FCE3FE6A85CA}" type="slidenum">
              <a:rPr lang="en-GB" smtClean="0"/>
              <a:t>‹#›</a:t>
            </a:fld>
            <a:endParaRPr lang="en-GB"/>
          </a:p>
        </p:txBody>
      </p:sp>
    </p:spTree>
    <p:extLst>
      <p:ext uri="{BB962C8B-B14F-4D97-AF65-F5344CB8AC3E}">
        <p14:creationId xmlns:p14="http://schemas.microsoft.com/office/powerpoint/2010/main" val="421888015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C131254-3E2A-413C-B32A-FCE3FE6A85CA}" type="slidenum">
              <a:rPr lang="en-GB" smtClean="0"/>
              <a:t>4</a:t>
            </a:fld>
            <a:endParaRPr lang="en-GB"/>
          </a:p>
        </p:txBody>
      </p:sp>
    </p:spTree>
    <p:extLst>
      <p:ext uri="{BB962C8B-B14F-4D97-AF65-F5344CB8AC3E}">
        <p14:creationId xmlns:p14="http://schemas.microsoft.com/office/powerpoint/2010/main" val="116751223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10"/>
          </p:nvPr>
        </p:nvSpPr>
        <p:spPr/>
        <p:txBody>
          <a:bodyPr/>
          <a:lstStyle/>
          <a:p>
            <a:fld id="{67B1AA46-A0FC-6645-9E17-4E588D330C70}" type="slidenum">
              <a:rPr lang="en-US" smtClean="0">
                <a:solidFill>
                  <a:prstClr val="black"/>
                </a:solidFill>
              </a:rPr>
              <a:pPr/>
              <a:t>14</a:t>
            </a:fld>
            <a:endParaRPr lang="en-US">
              <a:solidFill>
                <a:prstClr val="black"/>
              </a:solidFill>
            </a:endParaRPr>
          </a:p>
        </p:txBody>
      </p:sp>
    </p:spTree>
    <p:extLst>
      <p:ext uri="{BB962C8B-B14F-4D97-AF65-F5344CB8AC3E}">
        <p14:creationId xmlns:p14="http://schemas.microsoft.com/office/powerpoint/2010/main" val="330089103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LGs – District Local Governments</a:t>
            </a:r>
          </a:p>
        </p:txBody>
      </p:sp>
      <p:sp>
        <p:nvSpPr>
          <p:cNvPr id="4" name="Slide Number Placeholder 3"/>
          <p:cNvSpPr>
            <a:spLocks noGrp="1"/>
          </p:cNvSpPr>
          <p:nvPr>
            <p:ph type="sldNum" sz="quarter" idx="5"/>
          </p:nvPr>
        </p:nvSpPr>
        <p:spPr/>
        <p:txBody>
          <a:bodyPr/>
          <a:lstStyle/>
          <a:p>
            <a:fld id="{AC131254-3E2A-413C-B32A-FCE3FE6A85CA}" type="slidenum">
              <a:rPr lang="en-GB" smtClean="0"/>
              <a:t>17</a:t>
            </a:fld>
            <a:endParaRPr lang="en-GB"/>
          </a:p>
        </p:txBody>
      </p:sp>
    </p:spTree>
    <p:extLst>
      <p:ext uri="{BB962C8B-B14F-4D97-AF65-F5344CB8AC3E}">
        <p14:creationId xmlns:p14="http://schemas.microsoft.com/office/powerpoint/2010/main" val="208972531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DLGs – District Local Governments</a:t>
            </a:r>
          </a:p>
        </p:txBody>
      </p:sp>
      <p:sp>
        <p:nvSpPr>
          <p:cNvPr id="4" name="Slide Number Placeholder 3"/>
          <p:cNvSpPr>
            <a:spLocks noGrp="1"/>
          </p:cNvSpPr>
          <p:nvPr>
            <p:ph type="sldNum" sz="quarter" idx="5"/>
          </p:nvPr>
        </p:nvSpPr>
        <p:spPr/>
        <p:txBody>
          <a:bodyPr/>
          <a:lstStyle/>
          <a:p>
            <a:fld id="{AC131254-3E2A-413C-B32A-FCE3FE6A85CA}" type="slidenum">
              <a:rPr lang="en-GB" smtClean="0"/>
              <a:t>18</a:t>
            </a:fld>
            <a:endParaRPr lang="en-GB"/>
          </a:p>
        </p:txBody>
      </p:sp>
    </p:spTree>
    <p:extLst>
      <p:ext uri="{BB962C8B-B14F-4D97-AF65-F5344CB8AC3E}">
        <p14:creationId xmlns:p14="http://schemas.microsoft.com/office/powerpoint/2010/main" val="156791466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10"/>
          </p:nvPr>
        </p:nvSpPr>
        <p:spPr/>
        <p:txBody>
          <a:bodyPr/>
          <a:lstStyle/>
          <a:p>
            <a:fld id="{67B1AA46-A0FC-6645-9E17-4E588D330C70}" type="slidenum">
              <a:rPr lang="en-US" smtClean="0">
                <a:solidFill>
                  <a:prstClr val="black"/>
                </a:solidFill>
              </a:rPr>
              <a:pPr/>
              <a:t>6</a:t>
            </a:fld>
            <a:endParaRPr lang="en-US">
              <a:solidFill>
                <a:prstClr val="black"/>
              </a:solidFill>
            </a:endParaRPr>
          </a:p>
        </p:txBody>
      </p:sp>
    </p:spTree>
    <p:extLst>
      <p:ext uri="{BB962C8B-B14F-4D97-AF65-F5344CB8AC3E}">
        <p14:creationId xmlns:p14="http://schemas.microsoft.com/office/powerpoint/2010/main" val="350575232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DSD - </a:t>
            </a:r>
            <a:r>
              <a:rPr lang="en-US" sz="1800">
                <a:effectLst/>
                <a:latin typeface="Segoe UI" panose="020B0502040204020203" pitchFamily="34" charset="0"/>
              </a:rPr>
              <a:t>Differentiated Service Delivery</a:t>
            </a:r>
            <a:endParaRPr lang="en-US"/>
          </a:p>
        </p:txBody>
      </p:sp>
      <p:sp>
        <p:nvSpPr>
          <p:cNvPr id="4" name="Slide Number Placeholder 3"/>
          <p:cNvSpPr>
            <a:spLocks noGrp="1"/>
          </p:cNvSpPr>
          <p:nvPr>
            <p:ph type="sldNum" sz="quarter" idx="5"/>
          </p:nvPr>
        </p:nvSpPr>
        <p:spPr/>
        <p:txBody>
          <a:bodyPr/>
          <a:lstStyle/>
          <a:p>
            <a:fld id="{AC131254-3E2A-413C-B32A-FCE3FE6A85CA}" type="slidenum">
              <a:rPr lang="en-GB" smtClean="0"/>
              <a:t>7</a:t>
            </a:fld>
            <a:endParaRPr lang="en-GB"/>
          </a:p>
        </p:txBody>
      </p:sp>
    </p:spTree>
    <p:extLst>
      <p:ext uri="{BB962C8B-B14F-4D97-AF65-F5344CB8AC3E}">
        <p14:creationId xmlns:p14="http://schemas.microsoft.com/office/powerpoint/2010/main" val="385474301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buFont typeface="Arial" panose="020B0604020202020204" pitchFamily="34" charset="0"/>
              <a:buChar char="•"/>
            </a:pPr>
            <a:r>
              <a:rPr lang="en-US" sz="1200" dirty="0">
                <a:solidFill>
                  <a:srgbClr val="252525"/>
                </a:solidFill>
                <a:effectLst/>
                <a:latin typeface="+mn-lt"/>
              </a:rPr>
              <a:t>The delay in the registration process of HIV-positive people increases the risk of dropping out before official registration. </a:t>
            </a:r>
            <a:endParaRPr lang="en-US" dirty="0">
              <a:solidFill>
                <a:srgbClr val="252525"/>
              </a:solidFill>
              <a:highlight>
                <a:srgbClr val="FFFF00"/>
              </a:highlight>
            </a:endParaRPr>
          </a:p>
          <a:p>
            <a:pPr algn="just"/>
            <a:r>
              <a:rPr lang="en-US" sz="1200" dirty="0">
                <a:solidFill>
                  <a:srgbClr val="252525"/>
                </a:solidFill>
                <a:effectLst/>
                <a:latin typeface="+mn-lt"/>
              </a:rPr>
              <a:t>Decrease in HIV testing of pregnant women; shortage of tests required for testing of pregnant women at the health centers (1.9% between the first 6 months of 2022).</a:t>
            </a:r>
          </a:p>
          <a:p>
            <a:pPr algn="just">
              <a:buFont typeface="Arial" panose="020B0604020202020204" pitchFamily="34" charset="0"/>
              <a:buChar char="•"/>
            </a:pPr>
            <a:r>
              <a:rPr lang="en-US" sz="1200" dirty="0">
                <a:solidFill>
                  <a:srgbClr val="252525"/>
                </a:solidFill>
                <a:effectLst/>
                <a:latin typeface="+mn-lt"/>
              </a:rPr>
              <a:t>Lack of integration between HIV and maternal and child healthcare (MCHC) and family planning programs is limiting progress in the introduction of testing for pregnant women at health centers. </a:t>
            </a:r>
            <a:endParaRPr lang="en-US" sz="1200" dirty="0">
              <a:solidFill>
                <a:srgbClr val="252525"/>
              </a:solidFill>
              <a:effectLst/>
              <a:highlight>
                <a:srgbClr val="FFFF00"/>
              </a:highlight>
              <a:latin typeface="+mn-lt"/>
            </a:endParaRPr>
          </a:p>
          <a:p>
            <a:pPr algn="just"/>
            <a:r>
              <a:rPr lang="en-US" sz="1200" dirty="0">
                <a:solidFill>
                  <a:srgbClr val="252525"/>
                </a:solidFill>
                <a:effectLst/>
                <a:latin typeface="+mn-lt"/>
              </a:rPr>
              <a:t>Annual increase of 7% for new infections in 2022 compared to 2021. In 2022, among an estimated 838 cases of new HIV infection, MSM will represent the majority (33%), and FSW, TG, and PWID will all together comprise 8% of all new cases</a:t>
            </a:r>
            <a:endParaRPr lang="en-US" sz="1200" dirty="0">
              <a:solidFill>
                <a:srgbClr val="252525"/>
              </a:solidFill>
              <a:effectLst/>
              <a:highlight>
                <a:srgbClr val="FFFF00"/>
              </a:highlight>
              <a:latin typeface="+mn-lt"/>
            </a:endParaRPr>
          </a:p>
          <a:p>
            <a:endParaRPr lang="en-US" dirty="0"/>
          </a:p>
        </p:txBody>
      </p:sp>
      <p:sp>
        <p:nvSpPr>
          <p:cNvPr id="4" name="Slide Number Placeholder 3"/>
          <p:cNvSpPr>
            <a:spLocks noGrp="1"/>
          </p:cNvSpPr>
          <p:nvPr>
            <p:ph type="sldNum" sz="quarter" idx="5"/>
          </p:nvPr>
        </p:nvSpPr>
        <p:spPr/>
        <p:txBody>
          <a:bodyPr/>
          <a:lstStyle/>
          <a:p>
            <a:fld id="{AC131254-3E2A-413C-B32A-FCE3FE6A85CA}" type="slidenum">
              <a:rPr lang="en-GB" smtClean="0"/>
              <a:t>8</a:t>
            </a:fld>
            <a:endParaRPr lang="en-GB"/>
          </a:p>
        </p:txBody>
      </p:sp>
    </p:spTree>
    <p:extLst>
      <p:ext uri="{BB962C8B-B14F-4D97-AF65-F5344CB8AC3E}">
        <p14:creationId xmlns:p14="http://schemas.microsoft.com/office/powerpoint/2010/main" val="371971162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AutoNum type="arabicPeriod"/>
            </a:pPr>
            <a:endParaRPr lang="en-US"/>
          </a:p>
        </p:txBody>
      </p:sp>
      <p:sp>
        <p:nvSpPr>
          <p:cNvPr id="4" name="Slide Number Placeholder 3"/>
          <p:cNvSpPr>
            <a:spLocks noGrp="1"/>
          </p:cNvSpPr>
          <p:nvPr>
            <p:ph type="sldNum" sz="quarter" idx="5"/>
          </p:nvPr>
        </p:nvSpPr>
        <p:spPr/>
        <p:txBody>
          <a:bodyPr/>
          <a:lstStyle/>
          <a:p>
            <a:fld id="{AC131254-3E2A-413C-B32A-FCE3FE6A85CA}" type="slidenum">
              <a:rPr lang="en-GB" smtClean="0"/>
              <a:t>9</a:t>
            </a:fld>
            <a:endParaRPr lang="en-GB"/>
          </a:p>
        </p:txBody>
      </p:sp>
    </p:spTree>
    <p:extLst>
      <p:ext uri="{BB962C8B-B14F-4D97-AF65-F5344CB8AC3E}">
        <p14:creationId xmlns:p14="http://schemas.microsoft.com/office/powerpoint/2010/main" val="156217580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AutoNum type="arabicPeriod"/>
            </a:pPr>
            <a:endParaRPr lang="en-US"/>
          </a:p>
        </p:txBody>
      </p:sp>
      <p:sp>
        <p:nvSpPr>
          <p:cNvPr id="4" name="Slide Number Placeholder 3"/>
          <p:cNvSpPr>
            <a:spLocks noGrp="1"/>
          </p:cNvSpPr>
          <p:nvPr>
            <p:ph type="sldNum" sz="quarter" idx="5"/>
          </p:nvPr>
        </p:nvSpPr>
        <p:spPr/>
        <p:txBody>
          <a:bodyPr/>
          <a:lstStyle/>
          <a:p>
            <a:fld id="{AC131254-3E2A-413C-B32A-FCE3FE6A85CA}" type="slidenum">
              <a:rPr lang="en-GB" smtClean="0"/>
              <a:t>10</a:t>
            </a:fld>
            <a:endParaRPr lang="en-GB"/>
          </a:p>
        </p:txBody>
      </p:sp>
    </p:spTree>
    <p:extLst>
      <p:ext uri="{BB962C8B-B14F-4D97-AF65-F5344CB8AC3E}">
        <p14:creationId xmlns:p14="http://schemas.microsoft.com/office/powerpoint/2010/main" val="294820961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AutoNum type="arabicPeriod"/>
            </a:pPr>
            <a:endParaRPr lang="en-US"/>
          </a:p>
        </p:txBody>
      </p:sp>
      <p:sp>
        <p:nvSpPr>
          <p:cNvPr id="4" name="Slide Number Placeholder 3"/>
          <p:cNvSpPr>
            <a:spLocks noGrp="1"/>
          </p:cNvSpPr>
          <p:nvPr>
            <p:ph type="sldNum" sz="quarter" idx="5"/>
          </p:nvPr>
        </p:nvSpPr>
        <p:spPr/>
        <p:txBody>
          <a:bodyPr/>
          <a:lstStyle/>
          <a:p>
            <a:fld id="{AC131254-3E2A-413C-B32A-FCE3FE6A85CA}" type="slidenum">
              <a:rPr lang="en-GB" smtClean="0"/>
              <a:t>11</a:t>
            </a:fld>
            <a:endParaRPr lang="en-GB"/>
          </a:p>
        </p:txBody>
      </p:sp>
    </p:spTree>
    <p:extLst>
      <p:ext uri="{BB962C8B-B14F-4D97-AF65-F5344CB8AC3E}">
        <p14:creationId xmlns:p14="http://schemas.microsoft.com/office/powerpoint/2010/main" val="423305544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AutoNum type="arabicPeriod"/>
            </a:pPr>
            <a:endParaRPr lang="en-US" dirty="0"/>
          </a:p>
        </p:txBody>
      </p:sp>
      <p:sp>
        <p:nvSpPr>
          <p:cNvPr id="4" name="Slide Number Placeholder 3"/>
          <p:cNvSpPr>
            <a:spLocks noGrp="1"/>
          </p:cNvSpPr>
          <p:nvPr>
            <p:ph type="sldNum" sz="quarter" idx="5"/>
          </p:nvPr>
        </p:nvSpPr>
        <p:spPr/>
        <p:txBody>
          <a:bodyPr/>
          <a:lstStyle/>
          <a:p>
            <a:fld id="{AC131254-3E2A-413C-B32A-FCE3FE6A85CA}" type="slidenum">
              <a:rPr lang="en-GB" smtClean="0"/>
              <a:t>12</a:t>
            </a:fld>
            <a:endParaRPr lang="en-GB"/>
          </a:p>
        </p:txBody>
      </p:sp>
    </p:spTree>
    <p:extLst>
      <p:ext uri="{BB962C8B-B14F-4D97-AF65-F5344CB8AC3E}">
        <p14:creationId xmlns:p14="http://schemas.microsoft.com/office/powerpoint/2010/main" val="421333608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AutoNum type="arabicPeriod"/>
            </a:pPr>
            <a:endParaRPr lang="en-US" dirty="0"/>
          </a:p>
        </p:txBody>
      </p:sp>
      <p:sp>
        <p:nvSpPr>
          <p:cNvPr id="4" name="Slide Number Placeholder 3"/>
          <p:cNvSpPr>
            <a:spLocks noGrp="1"/>
          </p:cNvSpPr>
          <p:nvPr>
            <p:ph type="sldNum" sz="quarter" idx="5"/>
          </p:nvPr>
        </p:nvSpPr>
        <p:spPr/>
        <p:txBody>
          <a:bodyPr/>
          <a:lstStyle/>
          <a:p>
            <a:fld id="{AC131254-3E2A-413C-B32A-FCE3FE6A85CA}" type="slidenum">
              <a:rPr lang="en-GB" smtClean="0"/>
              <a:t>13</a:t>
            </a:fld>
            <a:endParaRPr lang="en-GB"/>
          </a:p>
        </p:txBody>
      </p:sp>
    </p:spTree>
    <p:extLst>
      <p:ext uri="{BB962C8B-B14F-4D97-AF65-F5344CB8AC3E}">
        <p14:creationId xmlns:p14="http://schemas.microsoft.com/office/powerpoint/2010/main" val="225190420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5.xml"/></Relationships>
</file>

<file path=ppt/slideLayouts/_rels/slideLayout1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13.svg"/></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4.svg"/></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15.svg"/></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17.svg"/></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13.svg"/></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4.svg"/></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15.svg"/></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slideMaster" Target="../slideMasters/slideMaster1.xml"/><Relationship Id="rId1" Type="http://schemas.openxmlformats.org/officeDocument/2006/relationships/tags" Target="../tags/tag22.xml"/><Relationship Id="rId4" Type="http://schemas.openxmlformats.org/officeDocument/2006/relationships/image" Target="../media/image17.sv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slideMaster" Target="../slideMasters/slideMaster1.xml"/><Relationship Id="rId1" Type="http://schemas.openxmlformats.org/officeDocument/2006/relationships/tags" Target="../tags/tag23.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6.xml"/><Relationship Id="rId5" Type="http://schemas.openxmlformats.org/officeDocument/2006/relationships/image" Target="../media/image1.png"/><Relationship Id="rId4" Type="http://schemas.openxmlformats.org/officeDocument/2006/relationships/image" Target="../media/image4.svg"/></Relationships>
</file>

<file path=ppt/slideLayouts/_rels/slideLayout2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4.xml"/></Relationships>
</file>

<file path=ppt/slideLayouts/_rels/slideLayout2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5.xml"/></Relationships>
</file>

<file path=ppt/slideLayouts/_rels/slideLayout2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6.xml"/></Relationships>
</file>

<file path=ppt/slideLayouts/_rels/slideLayout2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7.xml"/></Relationships>
</file>

<file path=ppt/slideLayouts/_rels/slideLayout2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8.xml"/></Relationships>
</file>

<file path=ppt/slideLayouts/_rels/slideLayout2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9.xml"/></Relationships>
</file>

<file path=ppt/slideLayouts/_rels/slideLayout2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0.xml"/></Relationships>
</file>

<file path=ppt/slideLayouts/_rels/slideLayout27.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1.xml"/></Relationships>
</file>

<file path=ppt/slideLayouts/_rels/slideLayout2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2.xml"/></Relationships>
</file>

<file path=ppt/slideLayouts/_rels/slideLayout2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3.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7.xml"/><Relationship Id="rId5" Type="http://schemas.openxmlformats.org/officeDocument/2006/relationships/image" Target="../media/image1.png"/><Relationship Id="rId4" Type="http://schemas.openxmlformats.org/officeDocument/2006/relationships/image" Target="../media/image6.svg"/></Relationships>
</file>

<file path=ppt/slideLayouts/_rels/slideLayout3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4.xml"/></Relationships>
</file>

<file path=ppt/slideLayouts/_rels/slideLayout3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5.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6.xml"/></Relationships>
</file>

<file path=ppt/slideLayouts/_rels/slideLayout3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7.xml"/></Relationships>
</file>

<file path=ppt/slideLayouts/_rels/slideLayout3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8.xml"/></Relationships>
</file>

<file path=ppt/slideLayouts/_rels/slideLayout3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9.xml"/></Relationships>
</file>

<file path=ppt/slideLayouts/_rels/slideLayout37.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0.xml"/></Relationships>
</file>

<file path=ppt/slideLayouts/_rels/slideLayout3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1.xml"/></Relationships>
</file>

<file path=ppt/slideLayouts/_rels/slideLayout3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2.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8.xml"/><Relationship Id="rId5" Type="http://schemas.openxmlformats.org/officeDocument/2006/relationships/image" Target="../media/image1.png"/><Relationship Id="rId4" Type="http://schemas.openxmlformats.org/officeDocument/2006/relationships/image" Target="../media/image8.svg"/></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3.xml"/><Relationship Id="rId4" Type="http://schemas.openxmlformats.org/officeDocument/2006/relationships/image" Target="../media/image4.svg"/></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4.xml"/><Relationship Id="rId4" Type="http://schemas.openxmlformats.org/officeDocument/2006/relationships/image" Target="../media/image4.svg"/></Relationships>
</file>

<file path=ppt/slideLayouts/_rels/slideLayout4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5.xml"/></Relationships>
</file>

<file path=ppt/slideLayouts/_rels/slideLayout4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6.xml"/></Relationships>
</file>

<file path=ppt/slideLayouts/_rels/slideLayout44.xml.rels><?xml version="1.0" encoding="UTF-8" standalone="yes"?>
<Relationships xmlns="http://schemas.openxmlformats.org/package/2006/relationships"><Relationship Id="rId3" Type="http://schemas.openxmlformats.org/officeDocument/2006/relationships/hyperlink" Target="https://www.theglobalfund.org/" TargetMode="External"/><Relationship Id="rId2" Type="http://schemas.openxmlformats.org/officeDocument/2006/relationships/slideMaster" Target="../slideMasters/slideMaster1.xml"/><Relationship Id="rId1" Type="http://schemas.openxmlformats.org/officeDocument/2006/relationships/tags" Target="../tags/tag47.xml"/><Relationship Id="rId4" Type="http://schemas.openxmlformats.org/officeDocument/2006/relationships/image" Target="../media/image2.png"/></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8.xml"/><Relationship Id="rId6" Type="http://schemas.openxmlformats.org/officeDocument/2006/relationships/image" Target="../media/image1.png"/><Relationship Id="rId5" Type="http://schemas.openxmlformats.org/officeDocument/2006/relationships/hyperlink" Target="https://www.theglobalfund.org/" TargetMode="External"/><Relationship Id="rId4" Type="http://schemas.openxmlformats.org/officeDocument/2006/relationships/image" Target="../media/image4.svg"/></Relationships>
</file>

<file path=ppt/slideLayouts/_rels/slideLayout46.xml.rels><?xml version="1.0" encoding="UTF-8" standalone="yes"?>
<Relationships xmlns="http://schemas.openxmlformats.org/package/2006/relationships"><Relationship Id="rId3" Type="http://schemas.openxmlformats.org/officeDocument/2006/relationships/hyperlink" Target="https://www.theglobalfund.org/" TargetMode="External"/><Relationship Id="rId2" Type="http://schemas.openxmlformats.org/officeDocument/2006/relationships/slideMaster" Target="../slideMasters/slideMaster1.xml"/><Relationship Id="rId1" Type="http://schemas.openxmlformats.org/officeDocument/2006/relationships/tags" Target="../tags/tag49.xml"/><Relationship Id="rId6" Type="http://schemas.openxmlformats.org/officeDocument/2006/relationships/image" Target="../media/image1.png"/><Relationship Id="rId5" Type="http://schemas.openxmlformats.org/officeDocument/2006/relationships/image" Target="../media/image19.svg"/><Relationship Id="rId4" Type="http://schemas.openxmlformats.org/officeDocument/2006/relationships/image" Target="../media/image18.png"/></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slideMaster" Target="../slideMasters/slideMaster1.xml"/><Relationship Id="rId1" Type="http://schemas.openxmlformats.org/officeDocument/2006/relationships/tags" Target="../tags/tag50.xml"/><Relationship Id="rId6" Type="http://schemas.openxmlformats.org/officeDocument/2006/relationships/image" Target="../media/image1.png"/><Relationship Id="rId5" Type="http://schemas.openxmlformats.org/officeDocument/2006/relationships/hyperlink" Target="https://www.theglobalfund.org/" TargetMode="External"/><Relationship Id="rId4" Type="http://schemas.openxmlformats.org/officeDocument/2006/relationships/image" Target="../media/image21.svg"/></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slideMaster" Target="../slideMasters/slideMaster1.xml"/><Relationship Id="rId1" Type="http://schemas.openxmlformats.org/officeDocument/2006/relationships/tags" Target="../tags/tag51.xml"/><Relationship Id="rId6" Type="http://schemas.openxmlformats.org/officeDocument/2006/relationships/image" Target="../media/image1.png"/><Relationship Id="rId5" Type="http://schemas.openxmlformats.org/officeDocument/2006/relationships/hyperlink" Target="https://www.theglobalfund.org/" TargetMode="External"/><Relationship Id="rId4" Type="http://schemas.openxmlformats.org/officeDocument/2006/relationships/image" Target="../media/image23.svg"/></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52.xml"/><Relationship Id="rId6" Type="http://schemas.openxmlformats.org/officeDocument/2006/relationships/image" Target="../media/image1.png"/><Relationship Id="rId5" Type="http://schemas.openxmlformats.org/officeDocument/2006/relationships/hyperlink" Target="https://www.theglobalfund.org/" TargetMode="External"/><Relationship Id="rId4" Type="http://schemas.openxmlformats.org/officeDocument/2006/relationships/image" Target="../media/image4.sv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slideMaster" Target="../slideMasters/slideMaster1.xml"/><Relationship Id="rId1" Type="http://schemas.openxmlformats.org/officeDocument/2006/relationships/tags" Target="../tags/tag9.xml"/><Relationship Id="rId5" Type="http://schemas.openxmlformats.org/officeDocument/2006/relationships/image" Target="../media/image11.png"/><Relationship Id="rId4" Type="http://schemas.openxmlformats.org/officeDocument/2006/relationships/image" Target="../media/image10.svg"/></Relationships>
</file>

<file path=ppt/slideLayouts/_rels/slideLayout50.xml.rels><?xml version="1.0" encoding="UTF-8" standalone="yes"?>
<Relationships xmlns="http://schemas.openxmlformats.org/package/2006/relationships"><Relationship Id="rId3" Type="http://schemas.openxmlformats.org/officeDocument/2006/relationships/hyperlink" Target="https://www.theglobalfund.org/" TargetMode="External"/><Relationship Id="rId2" Type="http://schemas.openxmlformats.org/officeDocument/2006/relationships/slideMaster" Target="../slideMasters/slideMaster1.xml"/><Relationship Id="rId1" Type="http://schemas.openxmlformats.org/officeDocument/2006/relationships/tags" Target="../tags/tag53.xml"/><Relationship Id="rId6" Type="http://schemas.openxmlformats.org/officeDocument/2006/relationships/image" Target="../media/image1.png"/><Relationship Id="rId5" Type="http://schemas.openxmlformats.org/officeDocument/2006/relationships/image" Target="../media/image19.svg"/><Relationship Id="rId4" Type="http://schemas.openxmlformats.org/officeDocument/2006/relationships/image" Target="../media/image18.png"/></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slideMaster" Target="../slideMasters/slideMaster1.xml"/><Relationship Id="rId1" Type="http://schemas.openxmlformats.org/officeDocument/2006/relationships/tags" Target="../tags/tag54.xml"/><Relationship Id="rId6" Type="http://schemas.openxmlformats.org/officeDocument/2006/relationships/image" Target="../media/image1.png"/><Relationship Id="rId5" Type="http://schemas.openxmlformats.org/officeDocument/2006/relationships/hyperlink" Target="https://www.theglobalfund.org/" TargetMode="External"/><Relationship Id="rId4" Type="http://schemas.openxmlformats.org/officeDocument/2006/relationships/image" Target="../media/image21.svg"/></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slideMaster" Target="../slideMasters/slideMaster1.xml"/><Relationship Id="rId1" Type="http://schemas.openxmlformats.org/officeDocument/2006/relationships/tags" Target="../tags/tag55.xml"/><Relationship Id="rId6" Type="http://schemas.openxmlformats.org/officeDocument/2006/relationships/image" Target="../media/image1.png"/><Relationship Id="rId5" Type="http://schemas.openxmlformats.org/officeDocument/2006/relationships/hyperlink" Target="https://www.theglobalfund.org/" TargetMode="External"/><Relationship Id="rId4" Type="http://schemas.openxmlformats.org/officeDocument/2006/relationships/image" Target="../media/image23.svg"/></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slideMaster" Target="../slideMasters/slideMaster1.xml"/><Relationship Id="rId1" Type="http://schemas.openxmlformats.org/officeDocument/2006/relationships/tags" Target="../tags/tag56.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slideMaster" Target="../slideMasters/slideMaster1.xml"/><Relationship Id="rId1" Type="http://schemas.openxmlformats.org/officeDocument/2006/relationships/tags" Target="../tags/tag57.xml"/></Relationships>
</file>

<file path=ppt/slideLayouts/_rels/slideLayout55.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58.xml"/><Relationship Id="rId4" Type="http://schemas.openxmlformats.org/officeDocument/2006/relationships/image" Target="../media/image26.emf"/></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0.xml"/><Relationship Id="rId5" Type="http://schemas.openxmlformats.org/officeDocument/2006/relationships/image" Target="../media/image1.png"/><Relationship Id="rId4" Type="http://schemas.openxmlformats.org/officeDocument/2006/relationships/image" Target="../media/image4.sv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11.xml"/><Relationship Id="rId5" Type="http://schemas.openxmlformats.org/officeDocument/2006/relationships/image" Target="../media/image1.png"/><Relationship Id="rId4" Type="http://schemas.openxmlformats.org/officeDocument/2006/relationships/image" Target="../media/image6.svg"/></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12.xml"/><Relationship Id="rId5" Type="http://schemas.openxmlformats.org/officeDocument/2006/relationships/image" Target="../media/image1.png"/><Relationship Id="rId4" Type="http://schemas.openxmlformats.org/officeDocument/2006/relationships/image" Target="../media/image8.svg"/></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slideMaster" Target="../slideMasters/slideMaster1.xml"/><Relationship Id="rId1" Type="http://schemas.openxmlformats.org/officeDocument/2006/relationships/tags" Target="../tags/tag13.xml"/><Relationship Id="rId5" Type="http://schemas.openxmlformats.org/officeDocument/2006/relationships/image" Target="../media/image11.png"/><Relationship Id="rId4" Type="http://schemas.openxmlformats.org/officeDocument/2006/relationships/image" Target="../media/image10.svg"/></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5BBB5A-E909-4B98-99CC-B3F2B12EF9E8}"/>
              </a:ext>
            </a:extLst>
          </p:cNvPr>
          <p:cNvSpPr>
            <a:spLocks noGrp="1"/>
          </p:cNvSpPr>
          <p:nvPr>
            <p:ph type="ctrTitle" hasCustomPrompt="1"/>
          </p:nvPr>
        </p:nvSpPr>
        <p:spPr>
          <a:xfrm>
            <a:off x="358774" y="1798637"/>
            <a:ext cx="7577140" cy="2173288"/>
          </a:xfrm>
        </p:spPr>
        <p:txBody>
          <a:bodyPr anchor="ctr" anchorCtr="0">
            <a:noAutofit/>
          </a:bodyPr>
          <a:lstStyle>
            <a:lvl1pPr algn="l">
              <a:defRPr sz="4800"/>
            </a:lvl1pPr>
          </a:lstStyle>
          <a:p>
            <a:r>
              <a:rPr lang="en-US"/>
              <a:t>Add title</a:t>
            </a:r>
          </a:p>
        </p:txBody>
      </p:sp>
      <p:sp>
        <p:nvSpPr>
          <p:cNvPr id="7" name="Guides" hidden="1">
            <a:extLst>
              <a:ext uri="{FF2B5EF4-FFF2-40B4-BE49-F238E27FC236}">
                <a16:creationId xmlns:a16="http://schemas.microsoft.com/office/drawing/2014/main" id="{25E35409-37AF-410A-BB15-B1EDB639D7DA}"/>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8" name="Text Placeholder 4">
            <a:extLst>
              <a:ext uri="{FF2B5EF4-FFF2-40B4-BE49-F238E27FC236}">
                <a16:creationId xmlns:a16="http://schemas.microsoft.com/office/drawing/2014/main" id="{416184FD-CBC9-4FF3-9E0A-C45F56399106}"/>
              </a:ext>
            </a:extLst>
          </p:cNvPr>
          <p:cNvSpPr>
            <a:spLocks noGrp="1"/>
          </p:cNvSpPr>
          <p:nvPr>
            <p:ph type="body" sz="quarter" idx="11" hasCustomPrompt="1"/>
          </p:nvPr>
        </p:nvSpPr>
        <p:spPr>
          <a:xfrm>
            <a:off x="358775" y="4392000"/>
            <a:ext cx="7577138" cy="1620000"/>
          </a:xfrm>
        </p:spPr>
        <p:txBody>
          <a:bodyPr/>
          <a:lstStyle>
            <a:lvl1pPr marL="0" indent="0">
              <a:buNone/>
              <a:defRPr sz="4800">
                <a:latin typeface="+mn-lt"/>
              </a:defRPr>
            </a:lvl1pPr>
            <a:lvl2pPr marL="0" indent="0">
              <a:buNone/>
              <a:defRPr sz="4800">
                <a:latin typeface="+mn-lt"/>
              </a:defRPr>
            </a:lvl2pPr>
            <a:lvl3pPr marL="0" indent="0">
              <a:buNone/>
              <a:defRPr sz="4800">
                <a:latin typeface="+mn-lt"/>
              </a:defRPr>
            </a:lvl3pPr>
            <a:lvl4pPr marL="0" indent="0">
              <a:buNone/>
              <a:defRPr sz="4800">
                <a:latin typeface="+mn-lt"/>
              </a:defRPr>
            </a:lvl4pPr>
            <a:lvl5pPr marL="0" indent="0">
              <a:buNone/>
              <a:defRPr sz="4800">
                <a:latin typeface="+mn-lt"/>
              </a:defRPr>
            </a:lvl5pPr>
            <a:lvl6pPr marL="0" indent="0">
              <a:buNone/>
              <a:defRPr sz="4800"/>
            </a:lvl6pPr>
          </a:lstStyle>
          <a:p>
            <a:pPr lvl="0"/>
            <a:r>
              <a:rPr lang="en-US"/>
              <a:t>Add subtitle or date</a:t>
            </a:r>
          </a:p>
        </p:txBody>
      </p:sp>
      <p:pic>
        <p:nvPicPr>
          <p:cNvPr id="2124672040" name="image" descr="{&quot;templafy&quot;:{&quot;id&quot;:&quot;f67ec146-098c-480b-aedd-51e417cb0e8a&quot;}}"/>
          <p:cNvPicPr>
            <a:picLocks noChangeAspect="1"/>
          </p:cNvPicPr>
          <p:nvPr/>
        </p:nvPicPr>
        <p:blipFill>
          <a:blip r:embed="rId3"/>
          <a:stretch>
            <a:fillRect/>
          </a:stretch>
        </p:blipFill>
        <p:spPr>
          <a:xfrm>
            <a:off x="358774" y="269875"/>
            <a:ext cx="2253600" cy="290941"/>
          </a:xfrm>
          <a:prstGeom prst="rect">
            <a:avLst/>
          </a:prstGeom>
        </p:spPr>
      </p:pic>
      <p:pic>
        <p:nvPicPr>
          <p:cNvPr id="5" name="Picture 4" hidden="1">
            <a:extLst>
              <a:ext uri="{FF2B5EF4-FFF2-40B4-BE49-F238E27FC236}">
                <a16:creationId xmlns:a16="http://schemas.microsoft.com/office/drawing/2014/main" id="{DBB0BEE7-9859-46ED-B856-E1F749DE5AEC}"/>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358774" y="431875"/>
            <a:ext cx="4740489" cy="612000"/>
          </a:xfrm>
          <a:prstGeom prst="rect">
            <a:avLst/>
          </a:prstGeom>
        </p:spPr>
      </p:pic>
    </p:spTree>
    <p:extLst>
      <p:ext uri="{BB962C8B-B14F-4D97-AF65-F5344CB8AC3E}">
        <p14:creationId xmlns:p14="http://schemas.microsoft.com/office/powerpoint/2010/main" val="2794575954"/>
      </p:ext>
    </p:extLst>
  </p:cSld>
  <p:clrMapOvr>
    <a:masterClrMapping/>
  </p:clrMapOvr>
  <p:extLst>
    <p:ext uri="{DCECCB84-F9BA-43D5-87BE-67443E8EF086}">
      <p15:sldGuideLst xmlns:p15="http://schemas.microsoft.com/office/powerpoint/2012/main">
        <p15:guide id="1" orient="horz" pos="170" userDrawn="1">
          <p15:clr>
            <a:srgbClr val="717275"/>
          </p15:clr>
        </p15:guide>
        <p15:guide id="2" orient="horz" pos="762" userDrawn="1">
          <p15:clr>
            <a:srgbClr val="717275"/>
          </p15:clr>
        </p15:guide>
        <p15:guide id="3" orient="horz" pos="1133" userDrawn="1">
          <p15:clr>
            <a:srgbClr val="FF96FF"/>
          </p15:clr>
        </p15:guide>
        <p15:guide id="4" orient="horz" pos="3753" userDrawn="1">
          <p15:clr>
            <a:srgbClr val="FF96FF"/>
          </p15:clr>
        </p15:guide>
        <p15:guide id="5" pos="226" userDrawn="1">
          <p15:clr>
            <a:srgbClr val="FF96FF"/>
          </p15:clr>
        </p15:guide>
        <p15:guide id="6" pos="2544" userDrawn="1">
          <p15:clr>
            <a:srgbClr val="FF96FF"/>
          </p15:clr>
        </p15:guide>
        <p15:guide id="7" pos="2680" userDrawn="1">
          <p15:clr>
            <a:srgbClr val="FF96FF"/>
          </p15:clr>
        </p15:guide>
        <p15:guide id="8" pos="4999" userDrawn="1">
          <p15:clr>
            <a:srgbClr val="FF96FF"/>
          </p15:clr>
        </p15:guide>
        <p15:guide id="9" pos="5135" userDrawn="1">
          <p15:clr>
            <a:srgbClr val="FF96FF"/>
          </p15:clr>
        </p15:guide>
        <p15:guide id="10" pos="7453" userDrawn="1">
          <p15:clr>
            <a:srgbClr val="FF96FF"/>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type="secHead" preserve="1">
  <p:cSld name="Section Header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01854B5-E94C-49C5-B244-F57B3C38DAFE}"/>
              </a:ext>
            </a:extLst>
          </p:cNvPr>
          <p:cNvSpPr>
            <a:spLocks noGrp="1"/>
          </p:cNvSpPr>
          <p:nvPr>
            <p:ph type="title" hasCustomPrompt="1"/>
          </p:nvPr>
        </p:nvSpPr>
        <p:spPr>
          <a:xfrm>
            <a:off x="358775" y="269877"/>
            <a:ext cx="11473224" cy="730788"/>
          </a:xfrm>
        </p:spPr>
        <p:txBody>
          <a:bodyPr anchor="t" anchorCtr="0">
            <a:noAutofit/>
          </a:bodyPr>
          <a:lstStyle>
            <a:lvl1pPr>
              <a:defRPr sz="4800"/>
            </a:lvl1pPr>
          </a:lstStyle>
          <a:p>
            <a:r>
              <a:rPr lang="en-US"/>
              <a:t>Add 1. Section title</a:t>
            </a:r>
          </a:p>
        </p:txBody>
      </p:sp>
      <p:sp>
        <p:nvSpPr>
          <p:cNvPr id="3" name="Text Placeholder 2">
            <a:extLst>
              <a:ext uri="{FF2B5EF4-FFF2-40B4-BE49-F238E27FC236}">
                <a16:creationId xmlns:a16="http://schemas.microsoft.com/office/drawing/2014/main" id="{F29497D9-9E7A-4BD1-8760-1A8BDF98D32B}"/>
              </a:ext>
            </a:extLst>
          </p:cNvPr>
          <p:cNvSpPr>
            <a:spLocks noGrp="1"/>
          </p:cNvSpPr>
          <p:nvPr>
            <p:ph type="body" idx="1" hasCustomPrompt="1"/>
          </p:nvPr>
        </p:nvSpPr>
        <p:spPr>
          <a:xfrm>
            <a:off x="358774" y="1011269"/>
            <a:ext cx="11473225" cy="787370"/>
          </a:xfrm>
        </p:spPr>
        <p:txBody>
          <a:bodyPr>
            <a:normAutofit/>
          </a:bodyPr>
          <a:lstStyle>
            <a:lvl1pPr marL="0" indent="0">
              <a:buNone/>
              <a:defRPr sz="4800">
                <a:solidFill>
                  <a:schemeClr val="tx1"/>
                </a:solidFill>
                <a:latin typeface="+mn-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Add section subtitle</a:t>
            </a:r>
          </a:p>
        </p:txBody>
      </p:sp>
      <p:sp>
        <p:nvSpPr>
          <p:cNvPr id="5" name="Footer Placeholder 4">
            <a:extLst>
              <a:ext uri="{FF2B5EF4-FFF2-40B4-BE49-F238E27FC236}">
                <a16:creationId xmlns:a16="http://schemas.microsoft.com/office/drawing/2014/main" id="{4FFC80A7-614C-4E07-81DE-C2E044B67F7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474F944-E8C6-42B1-BCB7-CBEBD0FB766F}"/>
              </a:ext>
            </a:extLst>
          </p:cNvPr>
          <p:cNvSpPr>
            <a:spLocks noGrp="1"/>
          </p:cNvSpPr>
          <p:nvPr>
            <p:ph type="sldNum" sz="quarter" idx="12"/>
          </p:nvPr>
        </p:nvSpPr>
        <p:spPr/>
        <p:txBody>
          <a:bodyPr/>
          <a:lstStyle/>
          <a:p>
            <a:fld id="{9E2BE927-25C7-4379-86F1-C17ED9D2A7F2}" type="slidenum">
              <a:rPr lang="en-US" smtClean="0"/>
              <a:t>‹#›</a:t>
            </a:fld>
            <a:endParaRPr lang="en-US"/>
          </a:p>
        </p:txBody>
      </p:sp>
      <p:sp>
        <p:nvSpPr>
          <p:cNvPr id="7" name="Guides" hidden="1">
            <a:extLst>
              <a:ext uri="{FF2B5EF4-FFF2-40B4-BE49-F238E27FC236}">
                <a16:creationId xmlns:a16="http://schemas.microsoft.com/office/drawing/2014/main" id="{B4283730-3468-460D-AD3C-C466D126114C}"/>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Tree>
    <p:extLst>
      <p:ext uri="{BB962C8B-B14F-4D97-AF65-F5344CB8AC3E}">
        <p14:creationId xmlns:p14="http://schemas.microsoft.com/office/powerpoint/2010/main" val="2539708244"/>
      </p:ext>
    </p:extLst>
  </p:cSld>
  <p:clrMapOvr>
    <a:masterClrMapping/>
  </p:clrMapOvr>
  <p:extLst>
    <p:ext uri="{DCECCB84-F9BA-43D5-87BE-67443E8EF086}">
      <p15:sldGuideLst xmlns:p15="http://schemas.microsoft.com/office/powerpoint/2012/main">
        <p15:guide id="1" orient="horz" pos="170" userDrawn="1">
          <p15:clr>
            <a:srgbClr val="717275"/>
          </p15:clr>
        </p15:guide>
        <p15:guide id="2" orient="horz" pos="762" userDrawn="1">
          <p15:clr>
            <a:srgbClr val="717275"/>
          </p15:clr>
        </p15:guide>
        <p15:guide id="3" orient="horz" pos="1133" userDrawn="1">
          <p15:clr>
            <a:srgbClr val="FF96FF"/>
          </p15:clr>
        </p15:guide>
        <p15:guide id="4" orient="horz" pos="3753" userDrawn="1">
          <p15:clr>
            <a:srgbClr val="FF96FF"/>
          </p15:clr>
        </p15:guide>
        <p15:guide id="5" pos="226" userDrawn="1">
          <p15:clr>
            <a:srgbClr val="FF96FF"/>
          </p15:clr>
        </p15:guide>
        <p15:guide id="6" pos="7453" userDrawn="1">
          <p15:clr>
            <a:srgbClr val="FF96FF"/>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type="secHead" preserve="1">
  <p:cSld name="Section Header 2">
    <p:spTree>
      <p:nvGrpSpPr>
        <p:cNvPr id="1" name=""/>
        <p:cNvGrpSpPr/>
        <p:nvPr/>
      </p:nvGrpSpPr>
      <p:grpSpPr>
        <a:xfrm>
          <a:off x="0" y="0"/>
          <a:ext cx="0" cy="0"/>
          <a:chOff x="0" y="0"/>
          <a:chExt cx="0" cy="0"/>
        </a:xfrm>
      </p:grpSpPr>
      <p:pic>
        <p:nvPicPr>
          <p:cNvPr id="9" name="Graphic 8">
            <a:extLst>
              <a:ext uri="{FF2B5EF4-FFF2-40B4-BE49-F238E27FC236}">
                <a16:creationId xmlns:a16="http://schemas.microsoft.com/office/drawing/2014/main" id="{4D375C42-C7F3-45E4-8897-3483B6DC53C5}"/>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701854B5-E94C-49C5-B244-F57B3C38DAFE}"/>
              </a:ext>
            </a:extLst>
          </p:cNvPr>
          <p:cNvSpPr>
            <a:spLocks noGrp="1"/>
          </p:cNvSpPr>
          <p:nvPr>
            <p:ph type="title" hasCustomPrompt="1"/>
          </p:nvPr>
        </p:nvSpPr>
        <p:spPr>
          <a:xfrm>
            <a:off x="358775" y="269877"/>
            <a:ext cx="11473224" cy="730788"/>
          </a:xfrm>
        </p:spPr>
        <p:txBody>
          <a:bodyPr anchor="t" anchorCtr="0">
            <a:noAutofit/>
          </a:bodyPr>
          <a:lstStyle>
            <a:lvl1pPr>
              <a:defRPr sz="4800"/>
            </a:lvl1pPr>
          </a:lstStyle>
          <a:p>
            <a:r>
              <a:rPr lang="en-US"/>
              <a:t>Add 1. Section title</a:t>
            </a:r>
          </a:p>
        </p:txBody>
      </p:sp>
      <p:sp>
        <p:nvSpPr>
          <p:cNvPr id="3" name="Text Placeholder 2">
            <a:extLst>
              <a:ext uri="{FF2B5EF4-FFF2-40B4-BE49-F238E27FC236}">
                <a16:creationId xmlns:a16="http://schemas.microsoft.com/office/drawing/2014/main" id="{F29497D9-9E7A-4BD1-8760-1A8BDF98D32B}"/>
              </a:ext>
            </a:extLst>
          </p:cNvPr>
          <p:cNvSpPr>
            <a:spLocks noGrp="1"/>
          </p:cNvSpPr>
          <p:nvPr>
            <p:ph type="body" idx="1" hasCustomPrompt="1"/>
          </p:nvPr>
        </p:nvSpPr>
        <p:spPr>
          <a:xfrm>
            <a:off x="358774" y="1011269"/>
            <a:ext cx="11473225" cy="787370"/>
          </a:xfrm>
        </p:spPr>
        <p:txBody>
          <a:bodyPr>
            <a:normAutofit/>
          </a:bodyPr>
          <a:lstStyle>
            <a:lvl1pPr marL="0" indent="0">
              <a:buNone/>
              <a:defRPr sz="4800">
                <a:solidFill>
                  <a:schemeClr val="tx1"/>
                </a:solidFill>
                <a:latin typeface="+mn-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Add section subtitle</a:t>
            </a:r>
          </a:p>
        </p:txBody>
      </p:sp>
      <p:sp>
        <p:nvSpPr>
          <p:cNvPr id="5" name="Footer Placeholder 4">
            <a:extLst>
              <a:ext uri="{FF2B5EF4-FFF2-40B4-BE49-F238E27FC236}">
                <a16:creationId xmlns:a16="http://schemas.microsoft.com/office/drawing/2014/main" id="{4FFC80A7-614C-4E07-81DE-C2E044B67F7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474F944-E8C6-42B1-BCB7-CBEBD0FB766F}"/>
              </a:ext>
            </a:extLst>
          </p:cNvPr>
          <p:cNvSpPr>
            <a:spLocks noGrp="1"/>
          </p:cNvSpPr>
          <p:nvPr>
            <p:ph type="sldNum" sz="quarter" idx="12"/>
          </p:nvPr>
        </p:nvSpPr>
        <p:spPr/>
        <p:txBody>
          <a:bodyPr/>
          <a:lstStyle/>
          <a:p>
            <a:fld id="{9E2BE927-25C7-4379-86F1-C17ED9D2A7F2}" type="slidenum">
              <a:rPr lang="en-US" smtClean="0"/>
              <a:t>‹#›</a:t>
            </a:fld>
            <a:endParaRPr lang="en-US"/>
          </a:p>
        </p:txBody>
      </p:sp>
      <p:sp>
        <p:nvSpPr>
          <p:cNvPr id="7" name="Guides" hidden="1">
            <a:extLst>
              <a:ext uri="{FF2B5EF4-FFF2-40B4-BE49-F238E27FC236}">
                <a16:creationId xmlns:a16="http://schemas.microsoft.com/office/drawing/2014/main" id="{B4283730-3468-460D-AD3C-C466D126114C}"/>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Tree>
    <p:extLst>
      <p:ext uri="{BB962C8B-B14F-4D97-AF65-F5344CB8AC3E}">
        <p14:creationId xmlns:p14="http://schemas.microsoft.com/office/powerpoint/2010/main" val="2708505229"/>
      </p:ext>
    </p:extLst>
  </p:cSld>
  <p:clrMapOvr>
    <a:masterClrMapping/>
  </p:clrMapOvr>
  <p:extLst>
    <p:ext uri="{DCECCB84-F9BA-43D5-87BE-67443E8EF086}">
      <p15:sldGuideLst xmlns:p15="http://schemas.microsoft.com/office/powerpoint/2012/main">
        <p15:guide id="1" orient="horz" pos="170" userDrawn="1">
          <p15:clr>
            <a:srgbClr val="717275"/>
          </p15:clr>
        </p15:guide>
        <p15:guide id="2" orient="horz" pos="762" userDrawn="1">
          <p15:clr>
            <a:srgbClr val="717275"/>
          </p15:clr>
        </p15:guide>
        <p15:guide id="3" orient="horz" pos="1133" userDrawn="1">
          <p15:clr>
            <a:srgbClr val="FF96FF"/>
          </p15:clr>
        </p15:guide>
        <p15:guide id="4" orient="horz" pos="3753" userDrawn="1">
          <p15:clr>
            <a:srgbClr val="FF96FF"/>
          </p15:clr>
        </p15:guide>
        <p15:guide id="5" pos="226" userDrawn="1">
          <p15:clr>
            <a:srgbClr val="FF96FF"/>
          </p15:clr>
        </p15:guide>
        <p15:guide id="6" pos="7453" userDrawn="1">
          <p15:clr>
            <a:srgbClr val="FF96FF"/>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ection Header 3">
    <p:bg>
      <p:bgPr>
        <a:solidFill>
          <a:schemeClr val="bg1"/>
        </a:solidFill>
        <a:effectLst/>
      </p:bgPr>
    </p:bg>
    <p:spTree>
      <p:nvGrpSpPr>
        <p:cNvPr id="1" name=""/>
        <p:cNvGrpSpPr/>
        <p:nvPr/>
      </p:nvGrpSpPr>
      <p:grpSpPr>
        <a:xfrm>
          <a:off x="0" y="0"/>
          <a:ext cx="0" cy="0"/>
          <a:chOff x="0" y="0"/>
          <a:chExt cx="0" cy="0"/>
        </a:xfrm>
      </p:grpSpPr>
      <p:pic>
        <p:nvPicPr>
          <p:cNvPr id="11" name="Graphic 10">
            <a:extLst>
              <a:ext uri="{FF2B5EF4-FFF2-40B4-BE49-F238E27FC236}">
                <a16:creationId xmlns:a16="http://schemas.microsoft.com/office/drawing/2014/main" id="{E6D7EC9C-9C86-4A72-9CF4-9D1869172BD2}"/>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0" y="-10244"/>
            <a:ext cx="12191168" cy="6868244"/>
          </a:xfrm>
          <a:prstGeom prst="rect">
            <a:avLst/>
          </a:prstGeom>
        </p:spPr>
      </p:pic>
      <p:sp>
        <p:nvSpPr>
          <p:cNvPr id="6" name="Slide Number Placeholder 5">
            <a:extLst>
              <a:ext uri="{FF2B5EF4-FFF2-40B4-BE49-F238E27FC236}">
                <a16:creationId xmlns:a16="http://schemas.microsoft.com/office/drawing/2014/main" id="{1474F944-E8C6-42B1-BCB7-CBEBD0FB766F}"/>
              </a:ext>
            </a:extLst>
          </p:cNvPr>
          <p:cNvSpPr>
            <a:spLocks noGrp="1"/>
          </p:cNvSpPr>
          <p:nvPr>
            <p:ph type="sldNum" sz="quarter" idx="12"/>
          </p:nvPr>
        </p:nvSpPr>
        <p:spPr/>
        <p:txBody>
          <a:bodyPr/>
          <a:lstStyle/>
          <a:p>
            <a:fld id="{9E2BE927-25C7-4379-86F1-C17ED9D2A7F2}" type="slidenum">
              <a:rPr lang="en-US" smtClean="0"/>
              <a:t>‹#›</a:t>
            </a:fld>
            <a:endParaRPr lang="en-US"/>
          </a:p>
        </p:txBody>
      </p:sp>
      <p:sp>
        <p:nvSpPr>
          <p:cNvPr id="7" name="Guides" hidden="1">
            <a:extLst>
              <a:ext uri="{FF2B5EF4-FFF2-40B4-BE49-F238E27FC236}">
                <a16:creationId xmlns:a16="http://schemas.microsoft.com/office/drawing/2014/main" id="{B4283730-3468-460D-AD3C-C466D126114C}"/>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9" name="Title 1">
            <a:extLst>
              <a:ext uri="{FF2B5EF4-FFF2-40B4-BE49-F238E27FC236}">
                <a16:creationId xmlns:a16="http://schemas.microsoft.com/office/drawing/2014/main" id="{6A4CBAC5-9D6B-4F6C-BE34-A324B6951CBE}"/>
              </a:ext>
            </a:extLst>
          </p:cNvPr>
          <p:cNvSpPr>
            <a:spLocks noGrp="1"/>
          </p:cNvSpPr>
          <p:nvPr>
            <p:ph type="title" hasCustomPrompt="1"/>
          </p:nvPr>
        </p:nvSpPr>
        <p:spPr>
          <a:xfrm>
            <a:off x="358775" y="269877"/>
            <a:ext cx="11473224" cy="730788"/>
          </a:xfrm>
        </p:spPr>
        <p:txBody>
          <a:bodyPr anchor="t" anchorCtr="0">
            <a:noAutofit/>
          </a:bodyPr>
          <a:lstStyle>
            <a:lvl1pPr>
              <a:defRPr sz="4800"/>
            </a:lvl1pPr>
          </a:lstStyle>
          <a:p>
            <a:r>
              <a:rPr lang="en-US"/>
              <a:t>Add 1. Section title</a:t>
            </a:r>
          </a:p>
        </p:txBody>
      </p:sp>
      <p:sp>
        <p:nvSpPr>
          <p:cNvPr id="10" name="Text Placeholder 2">
            <a:extLst>
              <a:ext uri="{FF2B5EF4-FFF2-40B4-BE49-F238E27FC236}">
                <a16:creationId xmlns:a16="http://schemas.microsoft.com/office/drawing/2014/main" id="{F09529D0-E59E-4AA1-B8B3-6C6E83812A8D}"/>
              </a:ext>
            </a:extLst>
          </p:cNvPr>
          <p:cNvSpPr>
            <a:spLocks noGrp="1"/>
          </p:cNvSpPr>
          <p:nvPr>
            <p:ph type="body" idx="1" hasCustomPrompt="1"/>
          </p:nvPr>
        </p:nvSpPr>
        <p:spPr>
          <a:xfrm>
            <a:off x="358774" y="1011269"/>
            <a:ext cx="11473225" cy="787370"/>
          </a:xfrm>
        </p:spPr>
        <p:txBody>
          <a:bodyPr>
            <a:normAutofit/>
          </a:bodyPr>
          <a:lstStyle>
            <a:lvl1pPr marL="0" indent="0">
              <a:buNone/>
              <a:defRPr sz="4800">
                <a:solidFill>
                  <a:schemeClr val="tx1"/>
                </a:solidFill>
                <a:latin typeface="+mn-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Add section subtitle</a:t>
            </a:r>
          </a:p>
        </p:txBody>
      </p:sp>
    </p:spTree>
    <p:extLst>
      <p:ext uri="{BB962C8B-B14F-4D97-AF65-F5344CB8AC3E}">
        <p14:creationId xmlns:p14="http://schemas.microsoft.com/office/powerpoint/2010/main" val="1058952455"/>
      </p:ext>
    </p:extLst>
  </p:cSld>
  <p:clrMapOvr>
    <a:masterClrMapping/>
  </p:clrMapOvr>
  <p:extLst>
    <p:ext uri="{DCECCB84-F9BA-43D5-87BE-67443E8EF086}">
      <p15:sldGuideLst xmlns:p15="http://schemas.microsoft.com/office/powerpoint/2012/main">
        <p15:guide id="1" orient="horz" pos="170" userDrawn="1">
          <p15:clr>
            <a:srgbClr val="717275"/>
          </p15:clr>
        </p15:guide>
        <p15:guide id="2" orient="horz" pos="762" userDrawn="1">
          <p15:clr>
            <a:srgbClr val="717275"/>
          </p15:clr>
        </p15:guide>
        <p15:guide id="3" orient="horz" pos="1133" userDrawn="1">
          <p15:clr>
            <a:srgbClr val="FF96FF"/>
          </p15:clr>
        </p15:guide>
        <p15:guide id="4" orient="horz" pos="3753" userDrawn="1">
          <p15:clr>
            <a:srgbClr val="FF96FF"/>
          </p15:clr>
        </p15:guide>
        <p15:guide id="5" pos="226" userDrawn="1">
          <p15:clr>
            <a:srgbClr val="FF96FF"/>
          </p15:clr>
        </p15:guide>
        <p15:guide id="6" pos="7453" userDrawn="1">
          <p15:clr>
            <a:srgbClr val="FF96FF"/>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ection Header 4">
    <p:bg>
      <p:bgPr>
        <a:solidFill>
          <a:schemeClr val="bg1"/>
        </a:solidFill>
        <a:effectLst/>
      </p:bgPr>
    </p:bg>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id="{ED0AEBB1-9C21-FDCF-8504-BC0D64A1F25A}"/>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0" y="4605"/>
            <a:ext cx="12192000" cy="6848790"/>
          </a:xfrm>
          <a:prstGeom prst="rect">
            <a:avLst/>
          </a:prstGeom>
        </p:spPr>
      </p:pic>
      <p:sp>
        <p:nvSpPr>
          <p:cNvPr id="6" name="Slide Number Placeholder 5">
            <a:extLst>
              <a:ext uri="{FF2B5EF4-FFF2-40B4-BE49-F238E27FC236}">
                <a16:creationId xmlns:a16="http://schemas.microsoft.com/office/drawing/2014/main" id="{1474F944-E8C6-42B1-BCB7-CBEBD0FB766F}"/>
              </a:ext>
            </a:extLst>
          </p:cNvPr>
          <p:cNvSpPr>
            <a:spLocks noGrp="1"/>
          </p:cNvSpPr>
          <p:nvPr>
            <p:ph type="sldNum" sz="quarter" idx="12"/>
          </p:nvPr>
        </p:nvSpPr>
        <p:spPr/>
        <p:txBody>
          <a:bodyPr/>
          <a:lstStyle/>
          <a:p>
            <a:fld id="{9E2BE927-25C7-4379-86F1-C17ED9D2A7F2}" type="slidenum">
              <a:rPr lang="en-US" smtClean="0"/>
              <a:t>‹#›</a:t>
            </a:fld>
            <a:endParaRPr lang="en-US"/>
          </a:p>
        </p:txBody>
      </p:sp>
      <p:sp>
        <p:nvSpPr>
          <p:cNvPr id="7" name="Guides" hidden="1">
            <a:extLst>
              <a:ext uri="{FF2B5EF4-FFF2-40B4-BE49-F238E27FC236}">
                <a16:creationId xmlns:a16="http://schemas.microsoft.com/office/drawing/2014/main" id="{B4283730-3468-460D-AD3C-C466D126114C}"/>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9" name="Title 1">
            <a:extLst>
              <a:ext uri="{FF2B5EF4-FFF2-40B4-BE49-F238E27FC236}">
                <a16:creationId xmlns:a16="http://schemas.microsoft.com/office/drawing/2014/main" id="{6A4CBAC5-9D6B-4F6C-BE34-A324B6951CBE}"/>
              </a:ext>
            </a:extLst>
          </p:cNvPr>
          <p:cNvSpPr>
            <a:spLocks noGrp="1"/>
          </p:cNvSpPr>
          <p:nvPr>
            <p:ph type="title" hasCustomPrompt="1"/>
          </p:nvPr>
        </p:nvSpPr>
        <p:spPr>
          <a:xfrm>
            <a:off x="358775" y="269877"/>
            <a:ext cx="11473224" cy="730788"/>
          </a:xfrm>
        </p:spPr>
        <p:txBody>
          <a:bodyPr anchor="t" anchorCtr="0">
            <a:noAutofit/>
          </a:bodyPr>
          <a:lstStyle>
            <a:lvl1pPr>
              <a:defRPr sz="4800"/>
            </a:lvl1pPr>
          </a:lstStyle>
          <a:p>
            <a:r>
              <a:rPr lang="en-US"/>
              <a:t>Add 1. Section title</a:t>
            </a:r>
          </a:p>
        </p:txBody>
      </p:sp>
      <p:sp>
        <p:nvSpPr>
          <p:cNvPr id="10" name="Text Placeholder 2">
            <a:extLst>
              <a:ext uri="{FF2B5EF4-FFF2-40B4-BE49-F238E27FC236}">
                <a16:creationId xmlns:a16="http://schemas.microsoft.com/office/drawing/2014/main" id="{F09529D0-E59E-4AA1-B8B3-6C6E83812A8D}"/>
              </a:ext>
            </a:extLst>
          </p:cNvPr>
          <p:cNvSpPr>
            <a:spLocks noGrp="1"/>
          </p:cNvSpPr>
          <p:nvPr>
            <p:ph type="body" idx="1" hasCustomPrompt="1"/>
          </p:nvPr>
        </p:nvSpPr>
        <p:spPr>
          <a:xfrm>
            <a:off x="358774" y="1011269"/>
            <a:ext cx="11473225" cy="787370"/>
          </a:xfrm>
        </p:spPr>
        <p:txBody>
          <a:bodyPr>
            <a:normAutofit/>
          </a:bodyPr>
          <a:lstStyle>
            <a:lvl1pPr marL="0" indent="0">
              <a:buNone/>
              <a:defRPr sz="4800">
                <a:solidFill>
                  <a:schemeClr val="tx1"/>
                </a:solidFill>
                <a:latin typeface="+mn-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Add section subtitle</a:t>
            </a:r>
          </a:p>
        </p:txBody>
      </p:sp>
    </p:spTree>
    <p:extLst>
      <p:ext uri="{BB962C8B-B14F-4D97-AF65-F5344CB8AC3E}">
        <p14:creationId xmlns:p14="http://schemas.microsoft.com/office/powerpoint/2010/main" val="2484536122"/>
      </p:ext>
    </p:extLst>
  </p:cSld>
  <p:clrMapOvr>
    <a:masterClrMapping/>
  </p:clrMapOvr>
  <p:extLst>
    <p:ext uri="{DCECCB84-F9BA-43D5-87BE-67443E8EF086}">
      <p15:sldGuideLst xmlns:p15="http://schemas.microsoft.com/office/powerpoint/2012/main">
        <p15:guide id="1" orient="horz" pos="170" userDrawn="1">
          <p15:clr>
            <a:srgbClr val="717275"/>
          </p15:clr>
        </p15:guide>
        <p15:guide id="2" orient="horz" pos="762" userDrawn="1">
          <p15:clr>
            <a:srgbClr val="717275"/>
          </p15:clr>
        </p15:guide>
        <p15:guide id="3" orient="horz" pos="1133" userDrawn="1">
          <p15:clr>
            <a:srgbClr val="FF96FF"/>
          </p15:clr>
        </p15:guide>
        <p15:guide id="4" orient="horz" pos="3753" userDrawn="1">
          <p15:clr>
            <a:srgbClr val="FF96FF"/>
          </p15:clr>
        </p15:guide>
        <p15:guide id="5" pos="226" userDrawn="1">
          <p15:clr>
            <a:srgbClr val="FF96FF"/>
          </p15:clr>
        </p15:guide>
        <p15:guide id="6" pos="7453" userDrawn="1">
          <p15:clr>
            <a:srgbClr val="FF96FF"/>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ection Header 5">
    <p:bg>
      <p:bgPr>
        <a:solidFill>
          <a:schemeClr val="bg1"/>
        </a:solidFill>
        <a:effectLst/>
      </p:bgPr>
    </p:bg>
    <p:spTree>
      <p:nvGrpSpPr>
        <p:cNvPr id="1" name=""/>
        <p:cNvGrpSpPr/>
        <p:nvPr/>
      </p:nvGrpSpPr>
      <p:grpSpPr>
        <a:xfrm>
          <a:off x="0" y="0"/>
          <a:ext cx="0" cy="0"/>
          <a:chOff x="0" y="0"/>
          <a:chExt cx="0" cy="0"/>
        </a:xfrm>
      </p:grpSpPr>
      <p:pic>
        <p:nvPicPr>
          <p:cNvPr id="10" name="Graphic 9">
            <a:extLst>
              <a:ext uri="{FF2B5EF4-FFF2-40B4-BE49-F238E27FC236}">
                <a16:creationId xmlns:a16="http://schemas.microsoft.com/office/drawing/2014/main" id="{E69EA47E-6C41-451E-8DD8-8768C8368EF5}"/>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0" y="0"/>
            <a:ext cx="12192000" cy="6793832"/>
          </a:xfrm>
          <a:prstGeom prst="rect">
            <a:avLst/>
          </a:prstGeom>
        </p:spPr>
      </p:pic>
      <p:sp>
        <p:nvSpPr>
          <p:cNvPr id="6" name="Slide Number Placeholder 5">
            <a:extLst>
              <a:ext uri="{FF2B5EF4-FFF2-40B4-BE49-F238E27FC236}">
                <a16:creationId xmlns:a16="http://schemas.microsoft.com/office/drawing/2014/main" id="{1474F944-E8C6-42B1-BCB7-CBEBD0FB766F}"/>
              </a:ext>
            </a:extLst>
          </p:cNvPr>
          <p:cNvSpPr>
            <a:spLocks noGrp="1"/>
          </p:cNvSpPr>
          <p:nvPr>
            <p:ph type="sldNum" sz="quarter" idx="12"/>
          </p:nvPr>
        </p:nvSpPr>
        <p:spPr/>
        <p:txBody>
          <a:bodyPr/>
          <a:lstStyle/>
          <a:p>
            <a:fld id="{9E2BE927-25C7-4379-86F1-C17ED9D2A7F2}" type="slidenum">
              <a:rPr lang="en-US" smtClean="0"/>
              <a:t>‹#›</a:t>
            </a:fld>
            <a:endParaRPr lang="en-US"/>
          </a:p>
        </p:txBody>
      </p:sp>
      <p:sp>
        <p:nvSpPr>
          <p:cNvPr id="7" name="Guides" hidden="1">
            <a:extLst>
              <a:ext uri="{FF2B5EF4-FFF2-40B4-BE49-F238E27FC236}">
                <a16:creationId xmlns:a16="http://schemas.microsoft.com/office/drawing/2014/main" id="{B4283730-3468-460D-AD3C-C466D126114C}"/>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8" name="Title 1">
            <a:extLst>
              <a:ext uri="{FF2B5EF4-FFF2-40B4-BE49-F238E27FC236}">
                <a16:creationId xmlns:a16="http://schemas.microsoft.com/office/drawing/2014/main" id="{1816D06E-260D-4306-8191-C5566E188118}"/>
              </a:ext>
            </a:extLst>
          </p:cNvPr>
          <p:cNvSpPr>
            <a:spLocks noGrp="1"/>
          </p:cNvSpPr>
          <p:nvPr>
            <p:ph type="title" hasCustomPrompt="1"/>
          </p:nvPr>
        </p:nvSpPr>
        <p:spPr>
          <a:xfrm>
            <a:off x="358775" y="269877"/>
            <a:ext cx="11473224" cy="730788"/>
          </a:xfrm>
        </p:spPr>
        <p:txBody>
          <a:bodyPr anchor="t" anchorCtr="0">
            <a:noAutofit/>
          </a:bodyPr>
          <a:lstStyle>
            <a:lvl1pPr>
              <a:defRPr sz="4800">
                <a:solidFill>
                  <a:schemeClr val="bg1"/>
                </a:solidFill>
              </a:defRPr>
            </a:lvl1pPr>
          </a:lstStyle>
          <a:p>
            <a:r>
              <a:rPr lang="en-US"/>
              <a:t>Add 1. Section title</a:t>
            </a:r>
          </a:p>
        </p:txBody>
      </p:sp>
      <p:sp>
        <p:nvSpPr>
          <p:cNvPr id="9" name="Text Placeholder 2">
            <a:extLst>
              <a:ext uri="{FF2B5EF4-FFF2-40B4-BE49-F238E27FC236}">
                <a16:creationId xmlns:a16="http://schemas.microsoft.com/office/drawing/2014/main" id="{F0426C92-CA81-4B45-B228-1C41F86F27CB}"/>
              </a:ext>
            </a:extLst>
          </p:cNvPr>
          <p:cNvSpPr>
            <a:spLocks noGrp="1"/>
          </p:cNvSpPr>
          <p:nvPr>
            <p:ph type="body" idx="1" hasCustomPrompt="1"/>
          </p:nvPr>
        </p:nvSpPr>
        <p:spPr>
          <a:xfrm>
            <a:off x="358774" y="1011269"/>
            <a:ext cx="11473225" cy="787370"/>
          </a:xfrm>
        </p:spPr>
        <p:txBody>
          <a:bodyPr>
            <a:normAutofit/>
          </a:bodyPr>
          <a:lstStyle>
            <a:lvl1pPr marL="0" indent="0">
              <a:buNone/>
              <a:defRPr sz="4800">
                <a:solidFill>
                  <a:schemeClr val="bg1"/>
                </a:solidFill>
                <a:latin typeface="+mn-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Add section subtitle</a:t>
            </a:r>
          </a:p>
        </p:txBody>
      </p:sp>
    </p:spTree>
    <p:extLst>
      <p:ext uri="{BB962C8B-B14F-4D97-AF65-F5344CB8AC3E}">
        <p14:creationId xmlns:p14="http://schemas.microsoft.com/office/powerpoint/2010/main" val="3691388577"/>
      </p:ext>
    </p:extLst>
  </p:cSld>
  <p:clrMapOvr>
    <a:masterClrMapping/>
  </p:clrMapOvr>
  <p:extLst>
    <p:ext uri="{DCECCB84-F9BA-43D5-87BE-67443E8EF086}">
      <p15:sldGuideLst xmlns:p15="http://schemas.microsoft.com/office/powerpoint/2012/main">
        <p15:guide id="1" orient="horz" pos="170" userDrawn="1">
          <p15:clr>
            <a:srgbClr val="717275"/>
          </p15:clr>
        </p15:guide>
        <p15:guide id="2" orient="horz" pos="762" userDrawn="1">
          <p15:clr>
            <a:srgbClr val="717275"/>
          </p15:clr>
        </p15:guide>
        <p15:guide id="3" orient="horz" pos="1133" userDrawn="1">
          <p15:clr>
            <a:srgbClr val="FF96FF"/>
          </p15:clr>
        </p15:guide>
        <p15:guide id="4" orient="horz" pos="3753" userDrawn="1">
          <p15:clr>
            <a:srgbClr val="FF96FF"/>
          </p15:clr>
        </p15:guide>
        <p15:guide id="5" pos="226" userDrawn="1">
          <p15:clr>
            <a:srgbClr val="FF96FF"/>
          </p15:clr>
        </p15:guide>
        <p15:guide id="6" pos="7453" userDrawn="1">
          <p15:clr>
            <a:srgbClr val="FF96FF"/>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type="secHead" preserve="1">
  <p:cSld name="Section Header 2">
    <p:spTree>
      <p:nvGrpSpPr>
        <p:cNvPr id="1" name=""/>
        <p:cNvGrpSpPr/>
        <p:nvPr/>
      </p:nvGrpSpPr>
      <p:grpSpPr>
        <a:xfrm>
          <a:off x="0" y="0"/>
          <a:ext cx="0" cy="0"/>
          <a:chOff x="0" y="0"/>
          <a:chExt cx="0" cy="0"/>
        </a:xfrm>
      </p:grpSpPr>
      <p:pic>
        <p:nvPicPr>
          <p:cNvPr id="9" name="Graphic 8">
            <a:extLst>
              <a:ext uri="{FF2B5EF4-FFF2-40B4-BE49-F238E27FC236}">
                <a16:creationId xmlns:a16="http://schemas.microsoft.com/office/drawing/2014/main" id="{4D375C42-C7F3-45E4-8897-3483B6DC53C5}"/>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701854B5-E94C-49C5-B244-F57B3C38DAFE}"/>
              </a:ext>
            </a:extLst>
          </p:cNvPr>
          <p:cNvSpPr>
            <a:spLocks noGrp="1"/>
          </p:cNvSpPr>
          <p:nvPr>
            <p:ph type="title" hasCustomPrompt="1"/>
          </p:nvPr>
        </p:nvSpPr>
        <p:spPr>
          <a:xfrm>
            <a:off x="358775" y="269877"/>
            <a:ext cx="11473224" cy="730788"/>
          </a:xfrm>
        </p:spPr>
        <p:txBody>
          <a:bodyPr anchor="t" anchorCtr="0">
            <a:noAutofit/>
          </a:bodyPr>
          <a:lstStyle>
            <a:lvl1pPr>
              <a:defRPr sz="4800"/>
            </a:lvl1pPr>
          </a:lstStyle>
          <a:p>
            <a:r>
              <a:rPr lang="en-US"/>
              <a:t>Add 1. Section title</a:t>
            </a:r>
          </a:p>
        </p:txBody>
      </p:sp>
      <p:sp>
        <p:nvSpPr>
          <p:cNvPr id="3" name="Text Placeholder 2">
            <a:extLst>
              <a:ext uri="{FF2B5EF4-FFF2-40B4-BE49-F238E27FC236}">
                <a16:creationId xmlns:a16="http://schemas.microsoft.com/office/drawing/2014/main" id="{F29497D9-9E7A-4BD1-8760-1A8BDF98D32B}"/>
              </a:ext>
            </a:extLst>
          </p:cNvPr>
          <p:cNvSpPr>
            <a:spLocks noGrp="1"/>
          </p:cNvSpPr>
          <p:nvPr>
            <p:ph type="body" idx="1" hasCustomPrompt="1"/>
          </p:nvPr>
        </p:nvSpPr>
        <p:spPr>
          <a:xfrm>
            <a:off x="358774" y="1011269"/>
            <a:ext cx="11473225" cy="787370"/>
          </a:xfrm>
        </p:spPr>
        <p:txBody>
          <a:bodyPr>
            <a:normAutofit/>
          </a:bodyPr>
          <a:lstStyle>
            <a:lvl1pPr marL="0" indent="0">
              <a:buNone/>
              <a:defRPr sz="4800">
                <a:solidFill>
                  <a:schemeClr val="tx1"/>
                </a:solidFill>
                <a:latin typeface="+mn-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Add section subtitle</a:t>
            </a:r>
          </a:p>
        </p:txBody>
      </p:sp>
      <p:sp>
        <p:nvSpPr>
          <p:cNvPr id="5" name="Footer Placeholder 4">
            <a:extLst>
              <a:ext uri="{FF2B5EF4-FFF2-40B4-BE49-F238E27FC236}">
                <a16:creationId xmlns:a16="http://schemas.microsoft.com/office/drawing/2014/main" id="{4FFC80A7-614C-4E07-81DE-C2E044B67F7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474F944-E8C6-42B1-BCB7-CBEBD0FB766F}"/>
              </a:ext>
            </a:extLst>
          </p:cNvPr>
          <p:cNvSpPr>
            <a:spLocks noGrp="1"/>
          </p:cNvSpPr>
          <p:nvPr>
            <p:ph type="sldNum" sz="quarter" idx="12"/>
          </p:nvPr>
        </p:nvSpPr>
        <p:spPr/>
        <p:txBody>
          <a:bodyPr/>
          <a:lstStyle/>
          <a:p>
            <a:fld id="{9E2BE927-25C7-4379-86F1-C17ED9D2A7F2}" type="slidenum">
              <a:rPr lang="en-US" smtClean="0"/>
              <a:t>‹#›</a:t>
            </a:fld>
            <a:endParaRPr lang="en-US"/>
          </a:p>
        </p:txBody>
      </p:sp>
      <p:sp>
        <p:nvSpPr>
          <p:cNvPr id="7" name="Guides" hidden="1">
            <a:extLst>
              <a:ext uri="{FF2B5EF4-FFF2-40B4-BE49-F238E27FC236}">
                <a16:creationId xmlns:a16="http://schemas.microsoft.com/office/drawing/2014/main" id="{B4283730-3468-460D-AD3C-C466D126114C}"/>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Tree>
    <p:extLst>
      <p:ext uri="{BB962C8B-B14F-4D97-AF65-F5344CB8AC3E}">
        <p14:creationId xmlns:p14="http://schemas.microsoft.com/office/powerpoint/2010/main" val="2708505229"/>
      </p:ext>
    </p:extLst>
  </p:cSld>
  <p:clrMapOvr>
    <a:masterClrMapping/>
  </p:clrMapOvr>
  <p:extLst>
    <p:ext uri="{DCECCB84-F9BA-43D5-87BE-67443E8EF086}">
      <p15:sldGuideLst xmlns:p15="http://schemas.microsoft.com/office/powerpoint/2012/main">
        <p15:guide id="1" orient="horz" pos="170" userDrawn="1">
          <p15:clr>
            <a:srgbClr val="717275"/>
          </p15:clr>
        </p15:guide>
        <p15:guide id="2" orient="horz" pos="762" userDrawn="1">
          <p15:clr>
            <a:srgbClr val="717275"/>
          </p15:clr>
        </p15:guide>
        <p15:guide id="3" orient="horz" pos="1133" userDrawn="1">
          <p15:clr>
            <a:srgbClr val="FF96FF"/>
          </p15:clr>
        </p15:guide>
        <p15:guide id="4" orient="horz" pos="3753" userDrawn="1">
          <p15:clr>
            <a:srgbClr val="FF96FF"/>
          </p15:clr>
        </p15:guide>
        <p15:guide id="5" pos="226" userDrawn="1">
          <p15:clr>
            <a:srgbClr val="FF96FF"/>
          </p15:clr>
        </p15:guide>
        <p15:guide id="6" pos="7453" userDrawn="1">
          <p15:clr>
            <a:srgbClr val="FF96FF"/>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ection Header 3">
    <p:bg>
      <p:bgPr>
        <a:solidFill>
          <a:schemeClr val="bg1"/>
        </a:solidFill>
        <a:effectLst/>
      </p:bgPr>
    </p:bg>
    <p:spTree>
      <p:nvGrpSpPr>
        <p:cNvPr id="1" name=""/>
        <p:cNvGrpSpPr/>
        <p:nvPr/>
      </p:nvGrpSpPr>
      <p:grpSpPr>
        <a:xfrm>
          <a:off x="0" y="0"/>
          <a:ext cx="0" cy="0"/>
          <a:chOff x="0" y="0"/>
          <a:chExt cx="0" cy="0"/>
        </a:xfrm>
      </p:grpSpPr>
      <p:pic>
        <p:nvPicPr>
          <p:cNvPr id="11" name="Graphic 10">
            <a:extLst>
              <a:ext uri="{FF2B5EF4-FFF2-40B4-BE49-F238E27FC236}">
                <a16:creationId xmlns:a16="http://schemas.microsoft.com/office/drawing/2014/main" id="{E6D7EC9C-9C86-4A72-9CF4-9D1869172BD2}"/>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0" y="-10244"/>
            <a:ext cx="12191168" cy="6868244"/>
          </a:xfrm>
          <a:prstGeom prst="rect">
            <a:avLst/>
          </a:prstGeom>
        </p:spPr>
      </p:pic>
      <p:sp>
        <p:nvSpPr>
          <p:cNvPr id="6" name="Slide Number Placeholder 5">
            <a:extLst>
              <a:ext uri="{FF2B5EF4-FFF2-40B4-BE49-F238E27FC236}">
                <a16:creationId xmlns:a16="http://schemas.microsoft.com/office/drawing/2014/main" id="{1474F944-E8C6-42B1-BCB7-CBEBD0FB766F}"/>
              </a:ext>
            </a:extLst>
          </p:cNvPr>
          <p:cNvSpPr>
            <a:spLocks noGrp="1"/>
          </p:cNvSpPr>
          <p:nvPr>
            <p:ph type="sldNum" sz="quarter" idx="12"/>
          </p:nvPr>
        </p:nvSpPr>
        <p:spPr/>
        <p:txBody>
          <a:bodyPr/>
          <a:lstStyle/>
          <a:p>
            <a:fld id="{9E2BE927-25C7-4379-86F1-C17ED9D2A7F2}" type="slidenum">
              <a:rPr lang="en-US" smtClean="0"/>
              <a:t>‹#›</a:t>
            </a:fld>
            <a:endParaRPr lang="en-US"/>
          </a:p>
        </p:txBody>
      </p:sp>
      <p:sp>
        <p:nvSpPr>
          <p:cNvPr id="7" name="Guides" hidden="1">
            <a:extLst>
              <a:ext uri="{FF2B5EF4-FFF2-40B4-BE49-F238E27FC236}">
                <a16:creationId xmlns:a16="http://schemas.microsoft.com/office/drawing/2014/main" id="{B4283730-3468-460D-AD3C-C466D126114C}"/>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9" name="Title 1">
            <a:extLst>
              <a:ext uri="{FF2B5EF4-FFF2-40B4-BE49-F238E27FC236}">
                <a16:creationId xmlns:a16="http://schemas.microsoft.com/office/drawing/2014/main" id="{6A4CBAC5-9D6B-4F6C-BE34-A324B6951CBE}"/>
              </a:ext>
            </a:extLst>
          </p:cNvPr>
          <p:cNvSpPr>
            <a:spLocks noGrp="1"/>
          </p:cNvSpPr>
          <p:nvPr>
            <p:ph type="title" hasCustomPrompt="1"/>
          </p:nvPr>
        </p:nvSpPr>
        <p:spPr>
          <a:xfrm>
            <a:off x="358775" y="269877"/>
            <a:ext cx="11473224" cy="730788"/>
          </a:xfrm>
        </p:spPr>
        <p:txBody>
          <a:bodyPr anchor="t" anchorCtr="0">
            <a:noAutofit/>
          </a:bodyPr>
          <a:lstStyle>
            <a:lvl1pPr>
              <a:defRPr sz="4800"/>
            </a:lvl1pPr>
          </a:lstStyle>
          <a:p>
            <a:r>
              <a:rPr lang="en-US"/>
              <a:t>Add 1. Section title</a:t>
            </a:r>
          </a:p>
        </p:txBody>
      </p:sp>
      <p:sp>
        <p:nvSpPr>
          <p:cNvPr id="10" name="Text Placeholder 2">
            <a:extLst>
              <a:ext uri="{FF2B5EF4-FFF2-40B4-BE49-F238E27FC236}">
                <a16:creationId xmlns:a16="http://schemas.microsoft.com/office/drawing/2014/main" id="{F09529D0-E59E-4AA1-B8B3-6C6E83812A8D}"/>
              </a:ext>
            </a:extLst>
          </p:cNvPr>
          <p:cNvSpPr>
            <a:spLocks noGrp="1"/>
          </p:cNvSpPr>
          <p:nvPr>
            <p:ph type="body" idx="1" hasCustomPrompt="1"/>
          </p:nvPr>
        </p:nvSpPr>
        <p:spPr>
          <a:xfrm>
            <a:off x="358774" y="1011269"/>
            <a:ext cx="11473225" cy="787370"/>
          </a:xfrm>
        </p:spPr>
        <p:txBody>
          <a:bodyPr>
            <a:normAutofit/>
          </a:bodyPr>
          <a:lstStyle>
            <a:lvl1pPr marL="0" indent="0">
              <a:buNone/>
              <a:defRPr sz="4800">
                <a:solidFill>
                  <a:schemeClr val="tx1"/>
                </a:solidFill>
                <a:latin typeface="+mn-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Add section subtitle</a:t>
            </a:r>
          </a:p>
        </p:txBody>
      </p:sp>
    </p:spTree>
    <p:extLst>
      <p:ext uri="{BB962C8B-B14F-4D97-AF65-F5344CB8AC3E}">
        <p14:creationId xmlns:p14="http://schemas.microsoft.com/office/powerpoint/2010/main" val="1058952455"/>
      </p:ext>
    </p:extLst>
  </p:cSld>
  <p:clrMapOvr>
    <a:masterClrMapping/>
  </p:clrMapOvr>
  <p:extLst>
    <p:ext uri="{DCECCB84-F9BA-43D5-87BE-67443E8EF086}">
      <p15:sldGuideLst xmlns:p15="http://schemas.microsoft.com/office/powerpoint/2012/main">
        <p15:guide id="1" orient="horz" pos="170" userDrawn="1">
          <p15:clr>
            <a:srgbClr val="717275"/>
          </p15:clr>
        </p15:guide>
        <p15:guide id="2" orient="horz" pos="762" userDrawn="1">
          <p15:clr>
            <a:srgbClr val="717275"/>
          </p15:clr>
        </p15:guide>
        <p15:guide id="3" orient="horz" pos="1133" userDrawn="1">
          <p15:clr>
            <a:srgbClr val="FF96FF"/>
          </p15:clr>
        </p15:guide>
        <p15:guide id="4" orient="horz" pos="3753" userDrawn="1">
          <p15:clr>
            <a:srgbClr val="FF96FF"/>
          </p15:clr>
        </p15:guide>
        <p15:guide id="5" pos="226" userDrawn="1">
          <p15:clr>
            <a:srgbClr val="FF96FF"/>
          </p15:clr>
        </p15:guide>
        <p15:guide id="6" pos="7453" userDrawn="1">
          <p15:clr>
            <a:srgbClr val="FF96FF"/>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Section Header 4">
    <p:bg>
      <p:bgPr>
        <a:solidFill>
          <a:schemeClr val="bg1"/>
        </a:solidFill>
        <a:effectLst/>
      </p:bgPr>
    </p:bg>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id="{ED0AEBB1-9C21-FDCF-8504-BC0D64A1F25A}"/>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0" y="4605"/>
            <a:ext cx="12192000" cy="6848790"/>
          </a:xfrm>
          <a:prstGeom prst="rect">
            <a:avLst/>
          </a:prstGeom>
        </p:spPr>
      </p:pic>
      <p:sp>
        <p:nvSpPr>
          <p:cNvPr id="6" name="Slide Number Placeholder 5">
            <a:extLst>
              <a:ext uri="{FF2B5EF4-FFF2-40B4-BE49-F238E27FC236}">
                <a16:creationId xmlns:a16="http://schemas.microsoft.com/office/drawing/2014/main" id="{1474F944-E8C6-42B1-BCB7-CBEBD0FB766F}"/>
              </a:ext>
            </a:extLst>
          </p:cNvPr>
          <p:cNvSpPr>
            <a:spLocks noGrp="1"/>
          </p:cNvSpPr>
          <p:nvPr>
            <p:ph type="sldNum" sz="quarter" idx="12"/>
          </p:nvPr>
        </p:nvSpPr>
        <p:spPr/>
        <p:txBody>
          <a:bodyPr/>
          <a:lstStyle/>
          <a:p>
            <a:fld id="{9E2BE927-25C7-4379-86F1-C17ED9D2A7F2}" type="slidenum">
              <a:rPr lang="en-US" smtClean="0"/>
              <a:t>‹#›</a:t>
            </a:fld>
            <a:endParaRPr lang="en-US"/>
          </a:p>
        </p:txBody>
      </p:sp>
      <p:sp>
        <p:nvSpPr>
          <p:cNvPr id="7" name="Guides" hidden="1">
            <a:extLst>
              <a:ext uri="{FF2B5EF4-FFF2-40B4-BE49-F238E27FC236}">
                <a16:creationId xmlns:a16="http://schemas.microsoft.com/office/drawing/2014/main" id="{B4283730-3468-460D-AD3C-C466D126114C}"/>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9" name="Title 1">
            <a:extLst>
              <a:ext uri="{FF2B5EF4-FFF2-40B4-BE49-F238E27FC236}">
                <a16:creationId xmlns:a16="http://schemas.microsoft.com/office/drawing/2014/main" id="{6A4CBAC5-9D6B-4F6C-BE34-A324B6951CBE}"/>
              </a:ext>
            </a:extLst>
          </p:cNvPr>
          <p:cNvSpPr>
            <a:spLocks noGrp="1"/>
          </p:cNvSpPr>
          <p:nvPr>
            <p:ph type="title" hasCustomPrompt="1"/>
          </p:nvPr>
        </p:nvSpPr>
        <p:spPr>
          <a:xfrm>
            <a:off x="358775" y="269877"/>
            <a:ext cx="11473224" cy="730788"/>
          </a:xfrm>
        </p:spPr>
        <p:txBody>
          <a:bodyPr anchor="t" anchorCtr="0">
            <a:noAutofit/>
          </a:bodyPr>
          <a:lstStyle>
            <a:lvl1pPr>
              <a:defRPr sz="4800"/>
            </a:lvl1pPr>
          </a:lstStyle>
          <a:p>
            <a:r>
              <a:rPr lang="en-US"/>
              <a:t>Add 1. Section title</a:t>
            </a:r>
          </a:p>
        </p:txBody>
      </p:sp>
      <p:sp>
        <p:nvSpPr>
          <p:cNvPr id="10" name="Text Placeholder 2">
            <a:extLst>
              <a:ext uri="{FF2B5EF4-FFF2-40B4-BE49-F238E27FC236}">
                <a16:creationId xmlns:a16="http://schemas.microsoft.com/office/drawing/2014/main" id="{F09529D0-E59E-4AA1-B8B3-6C6E83812A8D}"/>
              </a:ext>
            </a:extLst>
          </p:cNvPr>
          <p:cNvSpPr>
            <a:spLocks noGrp="1"/>
          </p:cNvSpPr>
          <p:nvPr>
            <p:ph type="body" idx="1" hasCustomPrompt="1"/>
          </p:nvPr>
        </p:nvSpPr>
        <p:spPr>
          <a:xfrm>
            <a:off x="358774" y="1011269"/>
            <a:ext cx="11473225" cy="787370"/>
          </a:xfrm>
        </p:spPr>
        <p:txBody>
          <a:bodyPr>
            <a:normAutofit/>
          </a:bodyPr>
          <a:lstStyle>
            <a:lvl1pPr marL="0" indent="0">
              <a:buNone/>
              <a:defRPr sz="4800">
                <a:solidFill>
                  <a:schemeClr val="tx1"/>
                </a:solidFill>
                <a:latin typeface="+mn-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Add section subtitle</a:t>
            </a:r>
          </a:p>
        </p:txBody>
      </p:sp>
    </p:spTree>
    <p:extLst>
      <p:ext uri="{BB962C8B-B14F-4D97-AF65-F5344CB8AC3E}">
        <p14:creationId xmlns:p14="http://schemas.microsoft.com/office/powerpoint/2010/main" val="2484536122"/>
      </p:ext>
    </p:extLst>
  </p:cSld>
  <p:clrMapOvr>
    <a:masterClrMapping/>
  </p:clrMapOvr>
  <p:extLst>
    <p:ext uri="{DCECCB84-F9BA-43D5-87BE-67443E8EF086}">
      <p15:sldGuideLst xmlns:p15="http://schemas.microsoft.com/office/powerpoint/2012/main">
        <p15:guide id="1" orient="horz" pos="170" userDrawn="1">
          <p15:clr>
            <a:srgbClr val="717275"/>
          </p15:clr>
        </p15:guide>
        <p15:guide id="2" orient="horz" pos="762" userDrawn="1">
          <p15:clr>
            <a:srgbClr val="717275"/>
          </p15:clr>
        </p15:guide>
        <p15:guide id="3" orient="horz" pos="1133" userDrawn="1">
          <p15:clr>
            <a:srgbClr val="FF96FF"/>
          </p15:clr>
        </p15:guide>
        <p15:guide id="4" orient="horz" pos="3753" userDrawn="1">
          <p15:clr>
            <a:srgbClr val="FF96FF"/>
          </p15:clr>
        </p15:guide>
        <p15:guide id="5" pos="226" userDrawn="1">
          <p15:clr>
            <a:srgbClr val="FF96FF"/>
          </p15:clr>
        </p15:guide>
        <p15:guide id="6" pos="7453" userDrawn="1">
          <p15:clr>
            <a:srgbClr val="FF96FF"/>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Section Header 5">
    <p:bg>
      <p:bgPr>
        <a:solidFill>
          <a:schemeClr val="bg1"/>
        </a:solidFill>
        <a:effectLst/>
      </p:bgPr>
    </p:bg>
    <p:spTree>
      <p:nvGrpSpPr>
        <p:cNvPr id="1" name=""/>
        <p:cNvGrpSpPr/>
        <p:nvPr/>
      </p:nvGrpSpPr>
      <p:grpSpPr>
        <a:xfrm>
          <a:off x="0" y="0"/>
          <a:ext cx="0" cy="0"/>
          <a:chOff x="0" y="0"/>
          <a:chExt cx="0" cy="0"/>
        </a:xfrm>
      </p:grpSpPr>
      <p:pic>
        <p:nvPicPr>
          <p:cNvPr id="10" name="Graphic 9">
            <a:extLst>
              <a:ext uri="{FF2B5EF4-FFF2-40B4-BE49-F238E27FC236}">
                <a16:creationId xmlns:a16="http://schemas.microsoft.com/office/drawing/2014/main" id="{E69EA47E-6C41-451E-8DD8-8768C8368EF5}"/>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0" y="0"/>
            <a:ext cx="12192000" cy="6793832"/>
          </a:xfrm>
          <a:prstGeom prst="rect">
            <a:avLst/>
          </a:prstGeom>
        </p:spPr>
      </p:pic>
      <p:sp>
        <p:nvSpPr>
          <p:cNvPr id="6" name="Slide Number Placeholder 5">
            <a:extLst>
              <a:ext uri="{FF2B5EF4-FFF2-40B4-BE49-F238E27FC236}">
                <a16:creationId xmlns:a16="http://schemas.microsoft.com/office/drawing/2014/main" id="{1474F944-E8C6-42B1-BCB7-CBEBD0FB766F}"/>
              </a:ext>
            </a:extLst>
          </p:cNvPr>
          <p:cNvSpPr>
            <a:spLocks noGrp="1"/>
          </p:cNvSpPr>
          <p:nvPr>
            <p:ph type="sldNum" sz="quarter" idx="12"/>
          </p:nvPr>
        </p:nvSpPr>
        <p:spPr/>
        <p:txBody>
          <a:bodyPr/>
          <a:lstStyle/>
          <a:p>
            <a:fld id="{9E2BE927-25C7-4379-86F1-C17ED9D2A7F2}" type="slidenum">
              <a:rPr lang="en-US" smtClean="0"/>
              <a:t>‹#›</a:t>
            </a:fld>
            <a:endParaRPr lang="en-US"/>
          </a:p>
        </p:txBody>
      </p:sp>
      <p:sp>
        <p:nvSpPr>
          <p:cNvPr id="7" name="Guides" hidden="1">
            <a:extLst>
              <a:ext uri="{FF2B5EF4-FFF2-40B4-BE49-F238E27FC236}">
                <a16:creationId xmlns:a16="http://schemas.microsoft.com/office/drawing/2014/main" id="{B4283730-3468-460D-AD3C-C466D126114C}"/>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8" name="Title 1">
            <a:extLst>
              <a:ext uri="{FF2B5EF4-FFF2-40B4-BE49-F238E27FC236}">
                <a16:creationId xmlns:a16="http://schemas.microsoft.com/office/drawing/2014/main" id="{1816D06E-260D-4306-8191-C5566E188118}"/>
              </a:ext>
            </a:extLst>
          </p:cNvPr>
          <p:cNvSpPr>
            <a:spLocks noGrp="1"/>
          </p:cNvSpPr>
          <p:nvPr>
            <p:ph type="title" hasCustomPrompt="1"/>
          </p:nvPr>
        </p:nvSpPr>
        <p:spPr>
          <a:xfrm>
            <a:off x="358775" y="269877"/>
            <a:ext cx="11473224" cy="730788"/>
          </a:xfrm>
        </p:spPr>
        <p:txBody>
          <a:bodyPr anchor="t" anchorCtr="0">
            <a:noAutofit/>
          </a:bodyPr>
          <a:lstStyle>
            <a:lvl1pPr>
              <a:defRPr sz="4800">
                <a:solidFill>
                  <a:schemeClr val="bg1"/>
                </a:solidFill>
              </a:defRPr>
            </a:lvl1pPr>
          </a:lstStyle>
          <a:p>
            <a:r>
              <a:rPr lang="en-US"/>
              <a:t>Add 1. Section title</a:t>
            </a:r>
          </a:p>
        </p:txBody>
      </p:sp>
      <p:sp>
        <p:nvSpPr>
          <p:cNvPr id="9" name="Text Placeholder 2">
            <a:extLst>
              <a:ext uri="{FF2B5EF4-FFF2-40B4-BE49-F238E27FC236}">
                <a16:creationId xmlns:a16="http://schemas.microsoft.com/office/drawing/2014/main" id="{F0426C92-CA81-4B45-B228-1C41F86F27CB}"/>
              </a:ext>
            </a:extLst>
          </p:cNvPr>
          <p:cNvSpPr>
            <a:spLocks noGrp="1"/>
          </p:cNvSpPr>
          <p:nvPr>
            <p:ph type="body" idx="1" hasCustomPrompt="1"/>
          </p:nvPr>
        </p:nvSpPr>
        <p:spPr>
          <a:xfrm>
            <a:off x="358774" y="1011269"/>
            <a:ext cx="11473225" cy="787370"/>
          </a:xfrm>
        </p:spPr>
        <p:txBody>
          <a:bodyPr>
            <a:normAutofit/>
          </a:bodyPr>
          <a:lstStyle>
            <a:lvl1pPr marL="0" indent="0">
              <a:buNone/>
              <a:defRPr sz="4800">
                <a:solidFill>
                  <a:schemeClr val="bg1"/>
                </a:solidFill>
                <a:latin typeface="+mn-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Add section subtitle</a:t>
            </a:r>
          </a:p>
        </p:txBody>
      </p:sp>
    </p:spTree>
    <p:extLst>
      <p:ext uri="{BB962C8B-B14F-4D97-AF65-F5344CB8AC3E}">
        <p14:creationId xmlns:p14="http://schemas.microsoft.com/office/powerpoint/2010/main" val="3691388577"/>
      </p:ext>
    </p:extLst>
  </p:cSld>
  <p:clrMapOvr>
    <a:masterClrMapping/>
  </p:clrMapOvr>
  <p:extLst>
    <p:ext uri="{DCECCB84-F9BA-43D5-87BE-67443E8EF086}">
      <p15:sldGuideLst xmlns:p15="http://schemas.microsoft.com/office/powerpoint/2012/main">
        <p15:guide id="1" orient="horz" pos="170" userDrawn="1">
          <p15:clr>
            <a:srgbClr val="717275"/>
          </p15:clr>
        </p15:guide>
        <p15:guide id="2" orient="horz" pos="762" userDrawn="1">
          <p15:clr>
            <a:srgbClr val="717275"/>
          </p15:clr>
        </p15:guide>
        <p15:guide id="3" orient="horz" pos="1133" userDrawn="1">
          <p15:clr>
            <a:srgbClr val="FF96FF"/>
          </p15:clr>
        </p15:guide>
        <p15:guide id="4" orient="horz" pos="3753" userDrawn="1">
          <p15:clr>
            <a:srgbClr val="FF96FF"/>
          </p15:clr>
        </p15:guide>
        <p15:guide id="5" pos="226" userDrawn="1">
          <p15:clr>
            <a:srgbClr val="FF96FF"/>
          </p15:clr>
        </p15:guide>
        <p15:guide id="6" pos="7453" userDrawn="1">
          <p15:clr>
            <a:srgbClr val="FF96FF"/>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Agenda 1 Column">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12B9C8B6-8205-4C76-A8B3-6A0AD901D06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94182E6-4E4D-4619-8935-1EE0C5AA0FFB}"/>
              </a:ext>
            </a:extLst>
          </p:cNvPr>
          <p:cNvSpPr>
            <a:spLocks noGrp="1"/>
          </p:cNvSpPr>
          <p:nvPr>
            <p:ph type="sldNum" sz="quarter" idx="12"/>
          </p:nvPr>
        </p:nvSpPr>
        <p:spPr/>
        <p:txBody>
          <a:bodyPr/>
          <a:lstStyle/>
          <a:p>
            <a:fld id="{9E2BE927-25C7-4379-86F1-C17ED9D2A7F2}" type="slidenum">
              <a:rPr lang="en-US" smtClean="0"/>
              <a:t>‹#›</a:t>
            </a:fld>
            <a:endParaRPr lang="en-US"/>
          </a:p>
        </p:txBody>
      </p:sp>
      <p:sp>
        <p:nvSpPr>
          <p:cNvPr id="7" name="Guides" hidden="1">
            <a:extLst>
              <a:ext uri="{FF2B5EF4-FFF2-40B4-BE49-F238E27FC236}">
                <a16:creationId xmlns:a16="http://schemas.microsoft.com/office/drawing/2014/main" id="{BB27FE75-A2B8-4B3A-85AA-B08EC1555E5F}"/>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13" name="Content Placeholder 11">
            <a:extLst>
              <a:ext uri="{FF2B5EF4-FFF2-40B4-BE49-F238E27FC236}">
                <a16:creationId xmlns:a16="http://schemas.microsoft.com/office/drawing/2014/main" id="{7001D27A-CE9D-4509-A7FC-7A259D47B689}"/>
              </a:ext>
            </a:extLst>
          </p:cNvPr>
          <p:cNvSpPr>
            <a:spLocks noGrp="1"/>
          </p:cNvSpPr>
          <p:nvPr>
            <p:ph sz="quarter" idx="18" hasCustomPrompt="1"/>
          </p:nvPr>
        </p:nvSpPr>
        <p:spPr>
          <a:xfrm>
            <a:off x="360364" y="1947863"/>
            <a:ext cx="5626100" cy="4002087"/>
          </a:xfrm>
        </p:spPr>
        <p:txBody>
          <a:bodyPr numCol="1"/>
          <a:lstStyle>
            <a:lvl1pPr marL="447675" indent="-447675">
              <a:buFont typeface="+mj-lt"/>
              <a:buAutoNum type="arabicPeriod"/>
              <a:defRPr/>
            </a:lvl1pPr>
            <a:lvl2pPr marL="447675" indent="0">
              <a:buFont typeface="Arial" panose="020B0604020202020204" pitchFamily="34" charset="0"/>
              <a:buNone/>
              <a:defRPr/>
            </a:lvl2pPr>
            <a:lvl3pPr marL="447675" indent="0">
              <a:buFont typeface="Arial" panose="020B0604020202020204" pitchFamily="34" charset="0"/>
              <a:buNone/>
              <a:defRPr sz="2000"/>
            </a:lvl3pPr>
            <a:lvl4pPr marL="447675" indent="0">
              <a:buFont typeface="Arial" panose="020B0604020202020204" pitchFamily="34" charset="0"/>
              <a:buNone/>
              <a:defRPr sz="2000"/>
            </a:lvl4pPr>
            <a:lvl5pPr marL="447675" indent="0">
              <a:buFont typeface="Arial" panose="020B0604020202020204" pitchFamily="34" charset="0"/>
              <a:buNone/>
              <a:defRPr sz="2000"/>
            </a:lvl5pPr>
          </a:lstStyle>
          <a:p>
            <a:pPr lvl="0"/>
            <a:r>
              <a:rPr lang="en-US"/>
              <a:t>Add section title</a:t>
            </a:r>
          </a:p>
          <a:p>
            <a:pPr lvl="1"/>
            <a:r>
              <a:rPr lang="en-US"/>
              <a:t>Second level</a:t>
            </a:r>
          </a:p>
          <a:p>
            <a:pPr lvl="2"/>
            <a:r>
              <a:rPr lang="en-US"/>
              <a:t>Third level</a:t>
            </a:r>
          </a:p>
          <a:p>
            <a:pPr lvl="3"/>
            <a:r>
              <a:rPr lang="en-US"/>
              <a:t>Fourth level</a:t>
            </a:r>
          </a:p>
          <a:p>
            <a:pPr lvl="4"/>
            <a:r>
              <a:rPr lang="en-US"/>
              <a:t>Fifth level</a:t>
            </a:r>
          </a:p>
        </p:txBody>
      </p:sp>
      <p:sp>
        <p:nvSpPr>
          <p:cNvPr id="16" name="Title 1">
            <a:extLst>
              <a:ext uri="{FF2B5EF4-FFF2-40B4-BE49-F238E27FC236}">
                <a16:creationId xmlns:a16="http://schemas.microsoft.com/office/drawing/2014/main" id="{2D7373FE-7057-4E61-81F2-247C5DF71C41}"/>
              </a:ext>
            </a:extLst>
          </p:cNvPr>
          <p:cNvSpPr>
            <a:spLocks noGrp="1"/>
          </p:cNvSpPr>
          <p:nvPr>
            <p:ph type="title" hasCustomPrompt="1"/>
          </p:nvPr>
        </p:nvSpPr>
        <p:spPr>
          <a:xfrm>
            <a:off x="360000" y="270001"/>
            <a:ext cx="11471638" cy="939674"/>
          </a:xfrm>
        </p:spPr>
        <p:txBody>
          <a:bodyPr>
            <a:noAutofit/>
          </a:bodyPr>
          <a:lstStyle>
            <a:lvl1pPr>
              <a:defRPr/>
            </a:lvl1pPr>
          </a:lstStyle>
          <a:p>
            <a:r>
              <a:rPr lang="en-US"/>
              <a:t>Add agenda title</a:t>
            </a:r>
          </a:p>
        </p:txBody>
      </p:sp>
      <p:cxnSp>
        <p:nvCxnSpPr>
          <p:cNvPr id="18" name="Straight Connector 17">
            <a:extLst>
              <a:ext uri="{FF2B5EF4-FFF2-40B4-BE49-F238E27FC236}">
                <a16:creationId xmlns:a16="http://schemas.microsoft.com/office/drawing/2014/main" id="{0E7FA34B-EEB9-42C9-AD58-5C7F04D424F0}"/>
              </a:ext>
            </a:extLst>
          </p:cNvPr>
          <p:cNvCxnSpPr>
            <a:cxnSpLocks/>
          </p:cNvCxnSpPr>
          <p:nvPr userDrawn="1"/>
        </p:nvCxnSpPr>
        <p:spPr>
          <a:xfrm>
            <a:off x="358775" y="1798911"/>
            <a:ext cx="5629587"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A93C9196-E8C7-4685-95CA-36E3A9290921}"/>
              </a:ext>
            </a:extLst>
          </p:cNvPr>
          <p:cNvCxnSpPr>
            <a:cxnSpLocks/>
          </p:cNvCxnSpPr>
          <p:nvPr userDrawn="1"/>
        </p:nvCxnSpPr>
        <p:spPr>
          <a:xfrm>
            <a:off x="358775" y="6104211"/>
            <a:ext cx="5629587"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pic>
        <p:nvPicPr>
          <p:cNvPr id="3" name="Picture 2" hidden="1">
            <a:extLst>
              <a:ext uri="{FF2B5EF4-FFF2-40B4-BE49-F238E27FC236}">
                <a16:creationId xmlns:a16="http://schemas.microsoft.com/office/drawing/2014/main" id="{52FADB68-585E-44CC-A22A-736144F00039}"/>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358775" y="6267071"/>
            <a:ext cx="2230819" cy="288000"/>
          </a:xfrm>
          <a:prstGeom prst="rect">
            <a:avLst/>
          </a:prstGeom>
        </p:spPr>
      </p:pic>
    </p:spTree>
    <p:extLst>
      <p:ext uri="{BB962C8B-B14F-4D97-AF65-F5344CB8AC3E}">
        <p14:creationId xmlns:p14="http://schemas.microsoft.com/office/powerpoint/2010/main" val="1941285767"/>
      </p:ext>
    </p:extLst>
  </p:cSld>
  <p:clrMapOvr>
    <a:masterClrMapping/>
  </p:clrMapOvr>
  <p:extLst>
    <p:ext uri="{DCECCB84-F9BA-43D5-87BE-67443E8EF086}">
      <p15:sldGuideLst xmlns:p15="http://schemas.microsoft.com/office/powerpoint/2012/main">
        <p15:guide id="1" orient="horz" pos="170" userDrawn="1">
          <p15:clr>
            <a:srgbClr val="717275"/>
          </p15:clr>
        </p15:guide>
        <p15:guide id="2" orient="horz" pos="762" userDrawn="1">
          <p15:clr>
            <a:srgbClr val="717275"/>
          </p15:clr>
        </p15:guide>
        <p15:guide id="3" orient="horz" pos="1133" userDrawn="1">
          <p15:clr>
            <a:srgbClr val="FF96FF"/>
          </p15:clr>
        </p15:guide>
        <p15:guide id="4" orient="horz" pos="3753" userDrawn="1">
          <p15:clr>
            <a:srgbClr val="FF96FF"/>
          </p15:clr>
        </p15:guide>
        <p15:guide id="5" pos="226" userDrawn="1">
          <p15:clr>
            <a:srgbClr val="FF96FF"/>
          </p15:clr>
        </p15:guide>
        <p15:guide id="6" pos="3771" userDrawn="1">
          <p15:clr>
            <a:srgbClr val="FF96FF"/>
          </p15:clr>
        </p15:guide>
        <p15:guide id="7" pos="3908" userDrawn="1">
          <p15:clr>
            <a:srgbClr val="FF96FF"/>
          </p15:clr>
        </p15:guide>
        <p15:guide id="8" pos="7453" userDrawn="1">
          <p15:clr>
            <a:srgbClr val="FF96FF"/>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2">
    <p:bg>
      <p:bgPr>
        <a:solidFill>
          <a:schemeClr val="bg1"/>
        </a:solidFill>
        <a:effectLst/>
      </p:bgPr>
    </p:bg>
    <p:spTree>
      <p:nvGrpSpPr>
        <p:cNvPr id="1" name=""/>
        <p:cNvGrpSpPr/>
        <p:nvPr/>
      </p:nvGrpSpPr>
      <p:grpSpPr>
        <a:xfrm>
          <a:off x="0" y="0"/>
          <a:ext cx="0" cy="0"/>
          <a:chOff x="0" y="0"/>
          <a:chExt cx="0" cy="0"/>
        </a:xfrm>
      </p:grpSpPr>
      <p:pic>
        <p:nvPicPr>
          <p:cNvPr id="11" name="Graphic 10">
            <a:extLst>
              <a:ext uri="{FF2B5EF4-FFF2-40B4-BE49-F238E27FC236}">
                <a16:creationId xmlns:a16="http://schemas.microsoft.com/office/drawing/2014/main" id="{541351A2-CEC3-4AEC-8236-A5FB8016D6B2}"/>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76200" y="34890"/>
            <a:ext cx="12049125" cy="6788220"/>
          </a:xfrm>
          <a:prstGeom prst="rect">
            <a:avLst/>
          </a:prstGeom>
        </p:spPr>
      </p:pic>
      <p:sp>
        <p:nvSpPr>
          <p:cNvPr id="2" name="Title 1">
            <a:extLst>
              <a:ext uri="{FF2B5EF4-FFF2-40B4-BE49-F238E27FC236}">
                <a16:creationId xmlns:a16="http://schemas.microsoft.com/office/drawing/2014/main" id="{DE5BBB5A-E909-4B98-99CC-B3F2B12EF9E8}"/>
              </a:ext>
            </a:extLst>
          </p:cNvPr>
          <p:cNvSpPr>
            <a:spLocks noGrp="1"/>
          </p:cNvSpPr>
          <p:nvPr>
            <p:ph type="ctrTitle" hasCustomPrompt="1"/>
          </p:nvPr>
        </p:nvSpPr>
        <p:spPr>
          <a:xfrm>
            <a:off x="358774" y="1798637"/>
            <a:ext cx="7577140" cy="2173288"/>
          </a:xfrm>
        </p:spPr>
        <p:txBody>
          <a:bodyPr anchor="ctr" anchorCtr="0">
            <a:noAutofit/>
          </a:bodyPr>
          <a:lstStyle>
            <a:lvl1pPr algn="l">
              <a:defRPr sz="4800"/>
            </a:lvl1pPr>
          </a:lstStyle>
          <a:p>
            <a:r>
              <a:rPr lang="en-US"/>
              <a:t>Add title</a:t>
            </a:r>
          </a:p>
        </p:txBody>
      </p:sp>
      <p:sp>
        <p:nvSpPr>
          <p:cNvPr id="7" name="Guides" hidden="1">
            <a:extLst>
              <a:ext uri="{FF2B5EF4-FFF2-40B4-BE49-F238E27FC236}">
                <a16:creationId xmlns:a16="http://schemas.microsoft.com/office/drawing/2014/main" id="{25E35409-37AF-410A-BB15-B1EDB639D7DA}"/>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8" name="Text Placeholder 4">
            <a:extLst>
              <a:ext uri="{FF2B5EF4-FFF2-40B4-BE49-F238E27FC236}">
                <a16:creationId xmlns:a16="http://schemas.microsoft.com/office/drawing/2014/main" id="{F71DB77D-2F07-40F6-BC00-A91E707946B5}"/>
              </a:ext>
            </a:extLst>
          </p:cNvPr>
          <p:cNvSpPr>
            <a:spLocks noGrp="1"/>
          </p:cNvSpPr>
          <p:nvPr>
            <p:ph type="body" sz="quarter" idx="11" hasCustomPrompt="1"/>
          </p:nvPr>
        </p:nvSpPr>
        <p:spPr>
          <a:xfrm>
            <a:off x="358775" y="4392000"/>
            <a:ext cx="7577138" cy="1620000"/>
          </a:xfrm>
        </p:spPr>
        <p:txBody>
          <a:bodyPr/>
          <a:lstStyle>
            <a:lvl1pPr marL="0" indent="0">
              <a:buNone/>
              <a:defRPr sz="4800">
                <a:latin typeface="+mn-lt"/>
              </a:defRPr>
            </a:lvl1pPr>
            <a:lvl2pPr marL="0" indent="0">
              <a:buNone/>
              <a:defRPr sz="4800">
                <a:latin typeface="+mn-lt"/>
              </a:defRPr>
            </a:lvl2pPr>
            <a:lvl3pPr marL="0" indent="0">
              <a:buNone/>
              <a:defRPr sz="4800">
                <a:latin typeface="+mn-lt"/>
              </a:defRPr>
            </a:lvl3pPr>
            <a:lvl4pPr marL="0" indent="0">
              <a:buNone/>
              <a:defRPr sz="4800">
                <a:latin typeface="+mn-lt"/>
              </a:defRPr>
            </a:lvl4pPr>
            <a:lvl5pPr marL="0" indent="0">
              <a:buNone/>
              <a:defRPr sz="4800">
                <a:latin typeface="+mn-lt"/>
              </a:defRPr>
            </a:lvl5pPr>
            <a:lvl6pPr marL="0" indent="0">
              <a:buNone/>
              <a:defRPr sz="4800"/>
            </a:lvl6pPr>
          </a:lstStyle>
          <a:p>
            <a:pPr lvl="0"/>
            <a:r>
              <a:rPr lang="en-US"/>
              <a:t>Add subtitle or date</a:t>
            </a:r>
          </a:p>
        </p:txBody>
      </p:sp>
      <p:pic>
        <p:nvPicPr>
          <p:cNvPr id="1379843834" name="image" descr="{&quot;templafy&quot;:{&quot;id&quot;:&quot;44bb3358-4283-4314-990d-59910e926a0e&quot;}}"/>
          <p:cNvPicPr>
            <a:picLocks noChangeAspect="1"/>
          </p:cNvPicPr>
          <p:nvPr/>
        </p:nvPicPr>
        <p:blipFill>
          <a:blip r:embed="rId5"/>
          <a:stretch>
            <a:fillRect/>
          </a:stretch>
        </p:blipFill>
        <p:spPr>
          <a:xfrm>
            <a:off x="358774" y="269875"/>
            <a:ext cx="2253600" cy="290941"/>
          </a:xfrm>
          <a:prstGeom prst="rect">
            <a:avLst/>
          </a:prstGeom>
        </p:spPr>
      </p:pic>
      <p:pic>
        <p:nvPicPr>
          <p:cNvPr id="4" name="Picture 3" hidden="1">
            <a:extLst>
              <a:ext uri="{FF2B5EF4-FFF2-40B4-BE49-F238E27FC236}">
                <a16:creationId xmlns:a16="http://schemas.microsoft.com/office/drawing/2014/main" id="{1D627772-CD86-44A0-87C9-FEB68EFB7407}"/>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358774" y="503256"/>
            <a:ext cx="4740492" cy="612000"/>
          </a:xfrm>
          <a:prstGeom prst="rect">
            <a:avLst/>
          </a:prstGeom>
        </p:spPr>
      </p:pic>
    </p:spTree>
    <p:extLst>
      <p:ext uri="{BB962C8B-B14F-4D97-AF65-F5344CB8AC3E}">
        <p14:creationId xmlns:p14="http://schemas.microsoft.com/office/powerpoint/2010/main" val="2043703076"/>
      </p:ext>
    </p:extLst>
  </p:cSld>
  <p:clrMapOvr>
    <a:masterClrMapping/>
  </p:clrMapOvr>
  <p:extLst>
    <p:ext uri="{DCECCB84-F9BA-43D5-87BE-67443E8EF086}">
      <p15:sldGuideLst xmlns:p15="http://schemas.microsoft.com/office/powerpoint/2012/main">
        <p15:guide id="1" orient="horz" pos="170" userDrawn="1">
          <p15:clr>
            <a:srgbClr val="717275"/>
          </p15:clr>
        </p15:guide>
        <p15:guide id="2" orient="horz" pos="762" userDrawn="1">
          <p15:clr>
            <a:srgbClr val="717275"/>
          </p15:clr>
        </p15:guide>
        <p15:guide id="3" orient="horz" pos="1133" userDrawn="1">
          <p15:clr>
            <a:srgbClr val="FF96FF"/>
          </p15:clr>
        </p15:guide>
        <p15:guide id="4" orient="horz" pos="3753" userDrawn="1">
          <p15:clr>
            <a:srgbClr val="FF96FF"/>
          </p15:clr>
        </p15:guide>
        <p15:guide id="5" pos="226" userDrawn="1">
          <p15:clr>
            <a:srgbClr val="FF96FF"/>
          </p15:clr>
        </p15:guide>
        <p15:guide id="6" pos="2544" userDrawn="1">
          <p15:clr>
            <a:srgbClr val="FF96FF"/>
          </p15:clr>
        </p15:guide>
        <p15:guide id="7" pos="2680" userDrawn="1">
          <p15:clr>
            <a:srgbClr val="FF96FF"/>
          </p15:clr>
        </p15:guide>
        <p15:guide id="8" pos="4999" userDrawn="1">
          <p15:clr>
            <a:srgbClr val="FF96FF"/>
          </p15:clr>
        </p15:guide>
        <p15:guide id="9" pos="5135" userDrawn="1">
          <p15:clr>
            <a:srgbClr val="FF96FF"/>
          </p15:clr>
        </p15:guide>
        <p15:guide id="10" pos="7453" userDrawn="1">
          <p15:clr>
            <a:srgbClr val="FF96FF"/>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Agenda 2 Column">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12B9C8B6-8205-4C76-A8B3-6A0AD901D06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94182E6-4E4D-4619-8935-1EE0C5AA0FFB}"/>
              </a:ext>
            </a:extLst>
          </p:cNvPr>
          <p:cNvSpPr>
            <a:spLocks noGrp="1"/>
          </p:cNvSpPr>
          <p:nvPr>
            <p:ph type="sldNum" sz="quarter" idx="12"/>
          </p:nvPr>
        </p:nvSpPr>
        <p:spPr/>
        <p:txBody>
          <a:bodyPr/>
          <a:lstStyle/>
          <a:p>
            <a:fld id="{9E2BE927-25C7-4379-86F1-C17ED9D2A7F2}" type="slidenum">
              <a:rPr lang="en-US" smtClean="0"/>
              <a:t>‹#›</a:t>
            </a:fld>
            <a:endParaRPr lang="en-US"/>
          </a:p>
        </p:txBody>
      </p:sp>
      <p:sp>
        <p:nvSpPr>
          <p:cNvPr id="7" name="Guides" hidden="1">
            <a:extLst>
              <a:ext uri="{FF2B5EF4-FFF2-40B4-BE49-F238E27FC236}">
                <a16:creationId xmlns:a16="http://schemas.microsoft.com/office/drawing/2014/main" id="{BB27FE75-A2B8-4B3A-85AA-B08EC1555E5F}"/>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13" name="Content Placeholder 11">
            <a:extLst>
              <a:ext uri="{FF2B5EF4-FFF2-40B4-BE49-F238E27FC236}">
                <a16:creationId xmlns:a16="http://schemas.microsoft.com/office/drawing/2014/main" id="{7001D27A-CE9D-4509-A7FC-7A259D47B689}"/>
              </a:ext>
            </a:extLst>
          </p:cNvPr>
          <p:cNvSpPr>
            <a:spLocks noGrp="1"/>
          </p:cNvSpPr>
          <p:nvPr>
            <p:ph sz="quarter" idx="18" hasCustomPrompt="1"/>
          </p:nvPr>
        </p:nvSpPr>
        <p:spPr>
          <a:xfrm>
            <a:off x="360363" y="1947863"/>
            <a:ext cx="11471275" cy="4002087"/>
          </a:xfrm>
        </p:spPr>
        <p:txBody>
          <a:bodyPr numCol="2"/>
          <a:lstStyle>
            <a:lvl1pPr marL="447675" indent="-447675">
              <a:buFont typeface="+mj-lt"/>
              <a:buAutoNum type="arabicPeriod"/>
              <a:defRPr/>
            </a:lvl1pPr>
            <a:lvl2pPr marL="447675" indent="0">
              <a:buFont typeface="Arial" panose="020B0604020202020204" pitchFamily="34" charset="0"/>
              <a:buNone/>
              <a:defRPr/>
            </a:lvl2pPr>
            <a:lvl3pPr marL="447675" indent="0">
              <a:buFont typeface="Arial" panose="020B0604020202020204" pitchFamily="34" charset="0"/>
              <a:buNone/>
              <a:defRPr sz="2000"/>
            </a:lvl3pPr>
            <a:lvl4pPr marL="447675" indent="0">
              <a:buFont typeface="Arial" panose="020B0604020202020204" pitchFamily="34" charset="0"/>
              <a:buNone/>
              <a:defRPr sz="2000"/>
            </a:lvl4pPr>
            <a:lvl5pPr marL="447675" indent="0">
              <a:buFont typeface="Arial" panose="020B0604020202020204" pitchFamily="34" charset="0"/>
              <a:buNone/>
              <a:defRPr sz="2000"/>
            </a:lvl5pPr>
          </a:lstStyle>
          <a:p>
            <a:pPr lvl="0"/>
            <a:r>
              <a:rPr lang="en-US"/>
              <a:t>Add section title</a:t>
            </a:r>
          </a:p>
          <a:p>
            <a:pPr lvl="1"/>
            <a:r>
              <a:rPr lang="en-US"/>
              <a:t>Second level</a:t>
            </a:r>
          </a:p>
          <a:p>
            <a:pPr lvl="2"/>
            <a:r>
              <a:rPr lang="en-US"/>
              <a:t>Third level</a:t>
            </a:r>
          </a:p>
          <a:p>
            <a:pPr lvl="3"/>
            <a:r>
              <a:rPr lang="en-US"/>
              <a:t>Fourth level</a:t>
            </a:r>
          </a:p>
          <a:p>
            <a:pPr lvl="4"/>
            <a:r>
              <a:rPr lang="en-US"/>
              <a:t>Fifth level</a:t>
            </a:r>
          </a:p>
        </p:txBody>
      </p:sp>
      <p:sp>
        <p:nvSpPr>
          <p:cNvPr id="16" name="Title 1">
            <a:extLst>
              <a:ext uri="{FF2B5EF4-FFF2-40B4-BE49-F238E27FC236}">
                <a16:creationId xmlns:a16="http://schemas.microsoft.com/office/drawing/2014/main" id="{2D7373FE-7057-4E61-81F2-247C5DF71C41}"/>
              </a:ext>
            </a:extLst>
          </p:cNvPr>
          <p:cNvSpPr>
            <a:spLocks noGrp="1"/>
          </p:cNvSpPr>
          <p:nvPr>
            <p:ph type="title" hasCustomPrompt="1"/>
          </p:nvPr>
        </p:nvSpPr>
        <p:spPr>
          <a:xfrm>
            <a:off x="360000" y="270001"/>
            <a:ext cx="11471638" cy="939674"/>
          </a:xfrm>
        </p:spPr>
        <p:txBody>
          <a:bodyPr>
            <a:noAutofit/>
          </a:bodyPr>
          <a:lstStyle>
            <a:lvl1pPr>
              <a:defRPr/>
            </a:lvl1pPr>
          </a:lstStyle>
          <a:p>
            <a:r>
              <a:rPr lang="en-US"/>
              <a:t>Add agenda title</a:t>
            </a:r>
          </a:p>
        </p:txBody>
      </p:sp>
      <p:cxnSp>
        <p:nvCxnSpPr>
          <p:cNvPr id="18" name="Straight Connector 17">
            <a:extLst>
              <a:ext uri="{FF2B5EF4-FFF2-40B4-BE49-F238E27FC236}">
                <a16:creationId xmlns:a16="http://schemas.microsoft.com/office/drawing/2014/main" id="{0E7FA34B-EEB9-42C9-AD58-5C7F04D424F0}"/>
              </a:ext>
            </a:extLst>
          </p:cNvPr>
          <p:cNvCxnSpPr>
            <a:cxnSpLocks/>
          </p:cNvCxnSpPr>
          <p:nvPr userDrawn="1"/>
        </p:nvCxnSpPr>
        <p:spPr>
          <a:xfrm>
            <a:off x="358775" y="1798911"/>
            <a:ext cx="5629587"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E11A9CCD-3B12-4805-8689-E040326E9E78}"/>
              </a:ext>
            </a:extLst>
          </p:cNvPr>
          <p:cNvCxnSpPr>
            <a:cxnSpLocks/>
          </p:cNvCxnSpPr>
          <p:nvPr userDrawn="1"/>
        </p:nvCxnSpPr>
        <p:spPr>
          <a:xfrm>
            <a:off x="6203950" y="1798911"/>
            <a:ext cx="5629587"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A93C9196-E8C7-4685-95CA-36E3A9290921}"/>
              </a:ext>
            </a:extLst>
          </p:cNvPr>
          <p:cNvCxnSpPr>
            <a:cxnSpLocks/>
          </p:cNvCxnSpPr>
          <p:nvPr userDrawn="1"/>
        </p:nvCxnSpPr>
        <p:spPr>
          <a:xfrm>
            <a:off x="358775" y="6104211"/>
            <a:ext cx="5629587"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0B92039B-F1A2-4FDE-A65A-56F1642D689D}"/>
              </a:ext>
            </a:extLst>
          </p:cNvPr>
          <p:cNvCxnSpPr>
            <a:cxnSpLocks/>
          </p:cNvCxnSpPr>
          <p:nvPr userDrawn="1"/>
        </p:nvCxnSpPr>
        <p:spPr>
          <a:xfrm>
            <a:off x="6203950" y="6104211"/>
            <a:ext cx="5629587"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32943108"/>
      </p:ext>
    </p:extLst>
  </p:cSld>
  <p:clrMapOvr>
    <a:masterClrMapping/>
  </p:clrMapOvr>
  <p:extLst>
    <p:ext uri="{DCECCB84-F9BA-43D5-87BE-67443E8EF086}">
      <p15:sldGuideLst xmlns:p15="http://schemas.microsoft.com/office/powerpoint/2012/main">
        <p15:guide id="1" orient="horz" pos="170" userDrawn="1">
          <p15:clr>
            <a:srgbClr val="717275"/>
          </p15:clr>
        </p15:guide>
        <p15:guide id="2" orient="horz" pos="762" userDrawn="1">
          <p15:clr>
            <a:srgbClr val="717275"/>
          </p15:clr>
        </p15:guide>
        <p15:guide id="3" orient="horz" pos="1133" userDrawn="1">
          <p15:clr>
            <a:srgbClr val="FF96FF"/>
          </p15:clr>
        </p15:guide>
        <p15:guide id="4" orient="horz" pos="3753" userDrawn="1">
          <p15:clr>
            <a:srgbClr val="FF96FF"/>
          </p15:clr>
        </p15:guide>
        <p15:guide id="5" pos="226" userDrawn="1">
          <p15:clr>
            <a:srgbClr val="FF96FF"/>
          </p15:clr>
        </p15:guide>
        <p15:guide id="6" pos="3771" userDrawn="1">
          <p15:clr>
            <a:srgbClr val="FF96FF"/>
          </p15:clr>
        </p15:guide>
        <p15:guide id="7" pos="3908" userDrawn="1">
          <p15:clr>
            <a:srgbClr val="FF96FF"/>
          </p15:clr>
        </p15:guide>
        <p15:guide id="8" pos="7453" userDrawn="1">
          <p15:clr>
            <a:srgbClr val="FF96FF"/>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One Content">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12B9C8B6-8205-4C76-A8B3-6A0AD901D06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94182E6-4E4D-4619-8935-1EE0C5AA0FFB}"/>
              </a:ext>
            </a:extLst>
          </p:cNvPr>
          <p:cNvSpPr>
            <a:spLocks noGrp="1"/>
          </p:cNvSpPr>
          <p:nvPr>
            <p:ph type="sldNum" sz="quarter" idx="12"/>
          </p:nvPr>
        </p:nvSpPr>
        <p:spPr/>
        <p:txBody>
          <a:bodyPr/>
          <a:lstStyle/>
          <a:p>
            <a:fld id="{9E2BE927-25C7-4379-86F1-C17ED9D2A7F2}" type="slidenum">
              <a:rPr lang="en-US" smtClean="0"/>
              <a:t>‹#›</a:t>
            </a:fld>
            <a:endParaRPr lang="en-US"/>
          </a:p>
        </p:txBody>
      </p:sp>
      <p:sp>
        <p:nvSpPr>
          <p:cNvPr id="7" name="Guides" hidden="1">
            <a:extLst>
              <a:ext uri="{FF2B5EF4-FFF2-40B4-BE49-F238E27FC236}">
                <a16:creationId xmlns:a16="http://schemas.microsoft.com/office/drawing/2014/main" id="{BB27FE75-A2B8-4B3A-85AA-B08EC1555E5F}"/>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13" name="Content Placeholder 11">
            <a:extLst>
              <a:ext uri="{FF2B5EF4-FFF2-40B4-BE49-F238E27FC236}">
                <a16:creationId xmlns:a16="http://schemas.microsoft.com/office/drawing/2014/main" id="{7001D27A-CE9D-4509-A7FC-7A259D47B689}"/>
              </a:ext>
            </a:extLst>
          </p:cNvPr>
          <p:cNvSpPr>
            <a:spLocks noGrp="1"/>
          </p:cNvSpPr>
          <p:nvPr>
            <p:ph sz="quarter" idx="18" hasCustomPrompt="1"/>
          </p:nvPr>
        </p:nvSpPr>
        <p:spPr>
          <a:xfrm>
            <a:off x="360363" y="1947863"/>
            <a:ext cx="11471275" cy="4002087"/>
          </a:xfrm>
        </p:spPr>
        <p:txBody>
          <a:bodyPr/>
          <a:lstStyle>
            <a:lvl1pPr>
              <a:defRPr/>
            </a:lvl1pPr>
          </a:lstStyle>
          <a:p>
            <a:pPr lvl="0"/>
            <a:r>
              <a:rPr lang="en-US"/>
              <a:t>Add text</a:t>
            </a:r>
          </a:p>
          <a:p>
            <a:pPr lvl="1"/>
            <a:r>
              <a:rPr lang="en-US"/>
              <a:t>Second level</a:t>
            </a:r>
          </a:p>
          <a:p>
            <a:pPr lvl="2"/>
            <a:r>
              <a:rPr lang="en-US"/>
              <a:t>Third level</a:t>
            </a:r>
          </a:p>
          <a:p>
            <a:pPr lvl="3"/>
            <a:r>
              <a:rPr lang="en-US"/>
              <a:t>Fourth level</a:t>
            </a:r>
          </a:p>
          <a:p>
            <a:pPr lvl="4"/>
            <a:r>
              <a:rPr lang="en-US"/>
              <a:t>Fifth level</a:t>
            </a:r>
          </a:p>
        </p:txBody>
      </p:sp>
      <p:sp>
        <p:nvSpPr>
          <p:cNvPr id="16" name="Title 1">
            <a:extLst>
              <a:ext uri="{FF2B5EF4-FFF2-40B4-BE49-F238E27FC236}">
                <a16:creationId xmlns:a16="http://schemas.microsoft.com/office/drawing/2014/main" id="{2D7373FE-7057-4E61-81F2-247C5DF71C41}"/>
              </a:ext>
            </a:extLst>
          </p:cNvPr>
          <p:cNvSpPr>
            <a:spLocks noGrp="1"/>
          </p:cNvSpPr>
          <p:nvPr>
            <p:ph type="title" hasCustomPrompt="1"/>
          </p:nvPr>
        </p:nvSpPr>
        <p:spPr>
          <a:xfrm>
            <a:off x="360000" y="270001"/>
            <a:ext cx="11471638" cy="468000"/>
          </a:xfrm>
        </p:spPr>
        <p:txBody>
          <a:bodyPr>
            <a:noAutofit/>
          </a:bodyPr>
          <a:lstStyle>
            <a:lvl1pPr>
              <a:defRPr/>
            </a:lvl1pPr>
          </a:lstStyle>
          <a:p>
            <a:r>
              <a:rPr lang="en-US"/>
              <a:t>Add title</a:t>
            </a:r>
          </a:p>
        </p:txBody>
      </p:sp>
      <p:sp>
        <p:nvSpPr>
          <p:cNvPr id="17" name="Text Placeholder 8">
            <a:extLst>
              <a:ext uri="{FF2B5EF4-FFF2-40B4-BE49-F238E27FC236}">
                <a16:creationId xmlns:a16="http://schemas.microsoft.com/office/drawing/2014/main" id="{3F4FB002-71F6-4313-AB13-74F7B4274135}"/>
              </a:ext>
            </a:extLst>
          </p:cNvPr>
          <p:cNvSpPr>
            <a:spLocks noGrp="1"/>
          </p:cNvSpPr>
          <p:nvPr>
            <p:ph type="body" sz="quarter" idx="13" hasCustomPrompt="1"/>
          </p:nvPr>
        </p:nvSpPr>
        <p:spPr>
          <a:xfrm>
            <a:off x="359639" y="742950"/>
            <a:ext cx="11471999" cy="468000"/>
          </a:xfrm>
        </p:spPr>
        <p:txBody>
          <a:bodyPr>
            <a:noAutofit/>
          </a:bodyPr>
          <a:lstStyle>
            <a:lvl1pPr marL="0" indent="0">
              <a:buFont typeface="Arial" panose="020B0604020202020204" pitchFamily="34" charset="0"/>
              <a:buNone/>
              <a:tabLst/>
              <a:defRPr sz="3200">
                <a:latin typeface="+mn-lt"/>
              </a:defRPr>
            </a:lvl1pPr>
            <a:lvl2pPr marL="0" indent="0">
              <a:buFont typeface="Arial" panose="020B0604020202020204" pitchFamily="34" charset="0"/>
              <a:buNone/>
              <a:tabLst/>
              <a:defRPr sz="3200">
                <a:latin typeface="+mn-lt"/>
              </a:defRPr>
            </a:lvl2pPr>
            <a:lvl3pPr marL="0" indent="0">
              <a:buFont typeface="Arial" panose="020B0604020202020204" pitchFamily="34" charset="0"/>
              <a:buNone/>
              <a:tabLst/>
              <a:defRPr sz="3200">
                <a:latin typeface="+mn-lt"/>
              </a:defRPr>
            </a:lvl3pPr>
            <a:lvl4pPr marL="0" indent="0">
              <a:buFont typeface="Arial" panose="020B0604020202020204" pitchFamily="34" charset="0"/>
              <a:buNone/>
              <a:tabLst/>
              <a:defRPr sz="3200">
                <a:latin typeface="+mn-lt"/>
              </a:defRPr>
            </a:lvl4pPr>
            <a:lvl5pPr marL="0" indent="0">
              <a:buFont typeface="Arial" panose="020B0604020202020204" pitchFamily="34" charset="0"/>
              <a:buNone/>
              <a:tabLst/>
              <a:defRPr sz="3200">
                <a:latin typeface="+mn-lt"/>
              </a:defRPr>
            </a:lvl5pPr>
          </a:lstStyle>
          <a:p>
            <a:pPr lvl="0"/>
            <a:r>
              <a:rPr lang="en-US"/>
              <a:t>Add subtitle</a:t>
            </a:r>
          </a:p>
        </p:txBody>
      </p:sp>
      <p:cxnSp>
        <p:nvCxnSpPr>
          <p:cNvPr id="3" name="Straight Connector 2">
            <a:extLst>
              <a:ext uri="{FF2B5EF4-FFF2-40B4-BE49-F238E27FC236}">
                <a16:creationId xmlns:a16="http://schemas.microsoft.com/office/drawing/2014/main" id="{71F7789E-3BDD-456A-8B4E-D05A3BEA3719}"/>
              </a:ext>
            </a:extLst>
          </p:cNvPr>
          <p:cNvCxnSpPr/>
          <p:nvPr userDrawn="1"/>
        </p:nvCxnSpPr>
        <p:spPr>
          <a:xfrm>
            <a:off x="358775" y="1798911"/>
            <a:ext cx="11472863"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96744759"/>
      </p:ext>
    </p:extLst>
  </p:cSld>
  <p:clrMapOvr>
    <a:masterClrMapping/>
  </p:clrMapOvr>
  <p:extLst>
    <p:ext uri="{DCECCB84-F9BA-43D5-87BE-67443E8EF086}">
      <p15:sldGuideLst xmlns:p15="http://schemas.microsoft.com/office/powerpoint/2012/main">
        <p15:guide id="1" orient="horz" pos="170" userDrawn="1">
          <p15:clr>
            <a:srgbClr val="717275"/>
          </p15:clr>
        </p15:guide>
        <p15:guide id="2" orient="horz" pos="762" userDrawn="1">
          <p15:clr>
            <a:srgbClr val="717275"/>
          </p15:clr>
        </p15:guide>
        <p15:guide id="3" orient="horz" pos="1133" userDrawn="1">
          <p15:clr>
            <a:srgbClr val="FF96FF"/>
          </p15:clr>
        </p15:guide>
        <p15:guide id="4" orient="horz" pos="3753" userDrawn="1">
          <p15:clr>
            <a:srgbClr val="FF96FF"/>
          </p15:clr>
        </p15:guide>
        <p15:guide id="5" pos="226" userDrawn="1">
          <p15:clr>
            <a:srgbClr val="FF96FF"/>
          </p15:clr>
        </p15:guide>
        <p15:guide id="6" pos="3771" userDrawn="1">
          <p15:clr>
            <a:srgbClr val="FF96FF"/>
          </p15:clr>
        </p15:guide>
        <p15:guide id="7" pos="3908" userDrawn="1">
          <p15:clr>
            <a:srgbClr val="FF96FF"/>
          </p15:clr>
        </p15:guide>
        <p15:guide id="8" pos="7453" userDrawn="1">
          <p15:clr>
            <a:srgbClr val="FF96FF"/>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12B9C8B6-8205-4C76-A8B3-6A0AD901D06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94182E6-4E4D-4619-8935-1EE0C5AA0FFB}"/>
              </a:ext>
            </a:extLst>
          </p:cNvPr>
          <p:cNvSpPr>
            <a:spLocks noGrp="1"/>
          </p:cNvSpPr>
          <p:nvPr>
            <p:ph type="sldNum" sz="quarter" idx="12"/>
          </p:nvPr>
        </p:nvSpPr>
        <p:spPr/>
        <p:txBody>
          <a:bodyPr/>
          <a:lstStyle/>
          <a:p>
            <a:fld id="{9E2BE927-25C7-4379-86F1-C17ED9D2A7F2}" type="slidenum">
              <a:rPr lang="en-US" smtClean="0"/>
              <a:t>‹#›</a:t>
            </a:fld>
            <a:endParaRPr lang="en-US"/>
          </a:p>
        </p:txBody>
      </p:sp>
      <p:sp>
        <p:nvSpPr>
          <p:cNvPr id="7" name="Guides" hidden="1">
            <a:extLst>
              <a:ext uri="{FF2B5EF4-FFF2-40B4-BE49-F238E27FC236}">
                <a16:creationId xmlns:a16="http://schemas.microsoft.com/office/drawing/2014/main" id="{BB27FE75-A2B8-4B3A-85AA-B08EC1555E5F}"/>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12" name="Content Placeholder 11">
            <a:extLst>
              <a:ext uri="{FF2B5EF4-FFF2-40B4-BE49-F238E27FC236}">
                <a16:creationId xmlns:a16="http://schemas.microsoft.com/office/drawing/2014/main" id="{490072E2-535B-45DE-A724-F7BE6D7347E4}"/>
              </a:ext>
            </a:extLst>
          </p:cNvPr>
          <p:cNvSpPr>
            <a:spLocks noGrp="1"/>
          </p:cNvSpPr>
          <p:nvPr>
            <p:ph sz="quarter" idx="17" hasCustomPrompt="1"/>
          </p:nvPr>
        </p:nvSpPr>
        <p:spPr>
          <a:xfrm>
            <a:off x="6203639" y="1947863"/>
            <a:ext cx="5627999" cy="4002087"/>
          </a:xfrm>
        </p:spPr>
        <p:txBody>
          <a:bodyPr/>
          <a:lstStyle>
            <a:lvl1pPr>
              <a:defRPr/>
            </a:lvl1pPr>
          </a:lstStyle>
          <a:p>
            <a:pPr lvl="0"/>
            <a:r>
              <a:rPr lang="en-US"/>
              <a:t>Add text</a:t>
            </a:r>
          </a:p>
          <a:p>
            <a:pPr lvl="1"/>
            <a:r>
              <a:rPr lang="en-US"/>
              <a:t>Second level</a:t>
            </a:r>
          </a:p>
          <a:p>
            <a:pPr lvl="2"/>
            <a:r>
              <a:rPr lang="en-US"/>
              <a:t>Third level</a:t>
            </a:r>
          </a:p>
          <a:p>
            <a:pPr lvl="3"/>
            <a:r>
              <a:rPr lang="en-US"/>
              <a:t>Fourth level</a:t>
            </a:r>
          </a:p>
          <a:p>
            <a:pPr lvl="4"/>
            <a:r>
              <a:rPr lang="en-US"/>
              <a:t>Fifth level</a:t>
            </a:r>
          </a:p>
        </p:txBody>
      </p:sp>
      <p:sp>
        <p:nvSpPr>
          <p:cNvPr id="13" name="Content Placeholder 11">
            <a:extLst>
              <a:ext uri="{FF2B5EF4-FFF2-40B4-BE49-F238E27FC236}">
                <a16:creationId xmlns:a16="http://schemas.microsoft.com/office/drawing/2014/main" id="{7001D27A-CE9D-4509-A7FC-7A259D47B689}"/>
              </a:ext>
            </a:extLst>
          </p:cNvPr>
          <p:cNvSpPr>
            <a:spLocks noGrp="1"/>
          </p:cNvSpPr>
          <p:nvPr>
            <p:ph sz="quarter" idx="18" hasCustomPrompt="1"/>
          </p:nvPr>
        </p:nvSpPr>
        <p:spPr>
          <a:xfrm>
            <a:off x="360363" y="1947863"/>
            <a:ext cx="5627999" cy="4002087"/>
          </a:xfrm>
        </p:spPr>
        <p:txBody>
          <a:bodyPr/>
          <a:lstStyle>
            <a:lvl1pPr>
              <a:defRPr/>
            </a:lvl1pPr>
          </a:lstStyle>
          <a:p>
            <a:pPr lvl="0"/>
            <a:r>
              <a:rPr lang="en-US"/>
              <a:t>Add text</a:t>
            </a:r>
          </a:p>
          <a:p>
            <a:pPr lvl="1"/>
            <a:r>
              <a:rPr lang="en-US"/>
              <a:t>Second level</a:t>
            </a:r>
          </a:p>
          <a:p>
            <a:pPr lvl="2"/>
            <a:r>
              <a:rPr lang="en-US"/>
              <a:t>Third level</a:t>
            </a:r>
          </a:p>
          <a:p>
            <a:pPr lvl="3"/>
            <a:r>
              <a:rPr lang="en-US"/>
              <a:t>Fourth level</a:t>
            </a:r>
          </a:p>
          <a:p>
            <a:pPr lvl="4"/>
            <a:r>
              <a:rPr lang="en-US"/>
              <a:t>Fifth level</a:t>
            </a:r>
          </a:p>
        </p:txBody>
      </p:sp>
      <p:sp>
        <p:nvSpPr>
          <p:cNvPr id="16" name="Title 1">
            <a:extLst>
              <a:ext uri="{FF2B5EF4-FFF2-40B4-BE49-F238E27FC236}">
                <a16:creationId xmlns:a16="http://schemas.microsoft.com/office/drawing/2014/main" id="{2D7373FE-7057-4E61-81F2-247C5DF71C41}"/>
              </a:ext>
            </a:extLst>
          </p:cNvPr>
          <p:cNvSpPr>
            <a:spLocks noGrp="1"/>
          </p:cNvSpPr>
          <p:nvPr>
            <p:ph type="title" hasCustomPrompt="1"/>
          </p:nvPr>
        </p:nvSpPr>
        <p:spPr>
          <a:xfrm>
            <a:off x="360000" y="270001"/>
            <a:ext cx="11471638" cy="468000"/>
          </a:xfrm>
        </p:spPr>
        <p:txBody>
          <a:bodyPr>
            <a:noAutofit/>
          </a:bodyPr>
          <a:lstStyle>
            <a:lvl1pPr>
              <a:defRPr/>
            </a:lvl1pPr>
          </a:lstStyle>
          <a:p>
            <a:r>
              <a:rPr lang="en-US"/>
              <a:t>Add title</a:t>
            </a:r>
          </a:p>
        </p:txBody>
      </p:sp>
      <p:sp>
        <p:nvSpPr>
          <p:cNvPr id="17" name="Text Placeholder 8">
            <a:extLst>
              <a:ext uri="{FF2B5EF4-FFF2-40B4-BE49-F238E27FC236}">
                <a16:creationId xmlns:a16="http://schemas.microsoft.com/office/drawing/2014/main" id="{3F4FB002-71F6-4313-AB13-74F7B4274135}"/>
              </a:ext>
            </a:extLst>
          </p:cNvPr>
          <p:cNvSpPr>
            <a:spLocks noGrp="1"/>
          </p:cNvSpPr>
          <p:nvPr>
            <p:ph type="body" sz="quarter" idx="13" hasCustomPrompt="1"/>
          </p:nvPr>
        </p:nvSpPr>
        <p:spPr>
          <a:xfrm>
            <a:off x="359639" y="742950"/>
            <a:ext cx="11471999" cy="468000"/>
          </a:xfrm>
        </p:spPr>
        <p:txBody>
          <a:bodyPr>
            <a:noAutofit/>
          </a:bodyPr>
          <a:lstStyle>
            <a:lvl1pPr marL="0" indent="0">
              <a:buFont typeface="Arial" panose="020B0604020202020204" pitchFamily="34" charset="0"/>
              <a:buNone/>
              <a:tabLst/>
              <a:defRPr sz="3200">
                <a:latin typeface="+mn-lt"/>
              </a:defRPr>
            </a:lvl1pPr>
            <a:lvl2pPr marL="0" indent="0">
              <a:buFont typeface="Arial" panose="020B0604020202020204" pitchFamily="34" charset="0"/>
              <a:buNone/>
              <a:tabLst/>
              <a:defRPr sz="3200">
                <a:latin typeface="+mn-lt"/>
              </a:defRPr>
            </a:lvl2pPr>
            <a:lvl3pPr marL="0" indent="0">
              <a:buFont typeface="Arial" panose="020B0604020202020204" pitchFamily="34" charset="0"/>
              <a:buNone/>
              <a:tabLst/>
              <a:defRPr sz="3200">
                <a:latin typeface="+mn-lt"/>
              </a:defRPr>
            </a:lvl3pPr>
            <a:lvl4pPr marL="0" indent="0">
              <a:buFont typeface="Arial" panose="020B0604020202020204" pitchFamily="34" charset="0"/>
              <a:buNone/>
              <a:tabLst/>
              <a:defRPr sz="3200">
                <a:latin typeface="+mn-lt"/>
              </a:defRPr>
            </a:lvl4pPr>
            <a:lvl5pPr marL="0" indent="0">
              <a:buFont typeface="Arial" panose="020B0604020202020204" pitchFamily="34" charset="0"/>
              <a:buNone/>
              <a:tabLst/>
              <a:defRPr sz="3200">
                <a:latin typeface="+mn-lt"/>
              </a:defRPr>
            </a:lvl5pPr>
          </a:lstStyle>
          <a:p>
            <a:pPr lvl="0"/>
            <a:r>
              <a:rPr lang="en-US"/>
              <a:t>Add subtitle</a:t>
            </a:r>
          </a:p>
        </p:txBody>
      </p:sp>
      <p:cxnSp>
        <p:nvCxnSpPr>
          <p:cNvPr id="18" name="Straight Connector 17">
            <a:extLst>
              <a:ext uri="{FF2B5EF4-FFF2-40B4-BE49-F238E27FC236}">
                <a16:creationId xmlns:a16="http://schemas.microsoft.com/office/drawing/2014/main" id="{0E7FA34B-EEB9-42C9-AD58-5C7F04D424F0}"/>
              </a:ext>
            </a:extLst>
          </p:cNvPr>
          <p:cNvCxnSpPr>
            <a:cxnSpLocks/>
          </p:cNvCxnSpPr>
          <p:nvPr userDrawn="1"/>
        </p:nvCxnSpPr>
        <p:spPr>
          <a:xfrm>
            <a:off x="358775" y="1798911"/>
            <a:ext cx="5629587"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E11A9CCD-3B12-4805-8689-E040326E9E78}"/>
              </a:ext>
            </a:extLst>
          </p:cNvPr>
          <p:cNvCxnSpPr>
            <a:cxnSpLocks/>
          </p:cNvCxnSpPr>
          <p:nvPr userDrawn="1"/>
        </p:nvCxnSpPr>
        <p:spPr>
          <a:xfrm>
            <a:off x="6203950" y="1798911"/>
            <a:ext cx="5629587"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11512847"/>
      </p:ext>
    </p:extLst>
  </p:cSld>
  <p:clrMapOvr>
    <a:masterClrMapping/>
  </p:clrMapOvr>
  <p:extLst>
    <p:ext uri="{DCECCB84-F9BA-43D5-87BE-67443E8EF086}">
      <p15:sldGuideLst xmlns:p15="http://schemas.microsoft.com/office/powerpoint/2012/main">
        <p15:guide id="1" orient="horz" pos="170" userDrawn="1">
          <p15:clr>
            <a:srgbClr val="717275"/>
          </p15:clr>
        </p15:guide>
        <p15:guide id="2" orient="horz" pos="762" userDrawn="1">
          <p15:clr>
            <a:srgbClr val="717275"/>
          </p15:clr>
        </p15:guide>
        <p15:guide id="3" orient="horz" pos="1133" userDrawn="1">
          <p15:clr>
            <a:srgbClr val="FF96FF"/>
          </p15:clr>
        </p15:guide>
        <p15:guide id="4" orient="horz" pos="3753" userDrawn="1">
          <p15:clr>
            <a:srgbClr val="FF96FF"/>
          </p15:clr>
        </p15:guide>
        <p15:guide id="5" pos="226" userDrawn="1">
          <p15:clr>
            <a:srgbClr val="FF96FF"/>
          </p15:clr>
        </p15:guide>
        <p15:guide id="6" pos="3771" userDrawn="1">
          <p15:clr>
            <a:srgbClr val="FF96FF"/>
          </p15:clr>
        </p15:guide>
        <p15:guide id="7" pos="3908" userDrawn="1">
          <p15:clr>
            <a:srgbClr val="FF96FF"/>
          </p15:clr>
        </p15:guide>
        <p15:guide id="8" pos="7453" userDrawn="1">
          <p15:clr>
            <a:srgbClr val="FF96FF"/>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wo Content (1/3 - 2/3)">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B06A07A4-FC84-46D6-8C0C-1AE653D2DF4E}"/>
              </a:ext>
            </a:extLst>
          </p:cNvPr>
          <p:cNvSpPr>
            <a:spLocks noGrp="1"/>
          </p:cNvSpPr>
          <p:nvPr>
            <p:ph idx="1" hasCustomPrompt="1"/>
          </p:nvPr>
        </p:nvSpPr>
        <p:spPr>
          <a:xfrm>
            <a:off x="359639" y="1947325"/>
            <a:ext cx="3678237" cy="4010564"/>
          </a:xfrm>
        </p:spPr>
        <p:txBody>
          <a:bodyPr/>
          <a:lstStyle>
            <a:lvl1pPr>
              <a:defRPr/>
            </a:lvl1pPr>
          </a:lstStyle>
          <a:p>
            <a:pPr lvl="0"/>
            <a:r>
              <a:rPr lang="en-US"/>
              <a:t>Add text</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12B9C8B6-8205-4C76-A8B3-6A0AD901D06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94182E6-4E4D-4619-8935-1EE0C5AA0FFB}"/>
              </a:ext>
            </a:extLst>
          </p:cNvPr>
          <p:cNvSpPr>
            <a:spLocks noGrp="1"/>
          </p:cNvSpPr>
          <p:nvPr>
            <p:ph type="sldNum" sz="quarter" idx="12"/>
          </p:nvPr>
        </p:nvSpPr>
        <p:spPr/>
        <p:txBody>
          <a:bodyPr/>
          <a:lstStyle/>
          <a:p>
            <a:fld id="{9E2BE927-25C7-4379-86F1-C17ED9D2A7F2}" type="slidenum">
              <a:rPr lang="en-US" smtClean="0"/>
              <a:t>‹#›</a:t>
            </a:fld>
            <a:endParaRPr lang="en-US"/>
          </a:p>
        </p:txBody>
      </p:sp>
      <p:sp>
        <p:nvSpPr>
          <p:cNvPr id="7" name="Guides" hidden="1">
            <a:extLst>
              <a:ext uri="{FF2B5EF4-FFF2-40B4-BE49-F238E27FC236}">
                <a16:creationId xmlns:a16="http://schemas.microsoft.com/office/drawing/2014/main" id="{BB27FE75-A2B8-4B3A-85AA-B08EC1555E5F}"/>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11" name="Content Placeholder 2">
            <a:extLst>
              <a:ext uri="{FF2B5EF4-FFF2-40B4-BE49-F238E27FC236}">
                <a16:creationId xmlns:a16="http://schemas.microsoft.com/office/drawing/2014/main" id="{5C34EDB7-6D95-41C7-98E2-50E9A314BEC5}"/>
              </a:ext>
            </a:extLst>
          </p:cNvPr>
          <p:cNvSpPr>
            <a:spLocks noGrp="1"/>
          </p:cNvSpPr>
          <p:nvPr>
            <p:ph idx="16" hasCustomPrompt="1"/>
          </p:nvPr>
        </p:nvSpPr>
        <p:spPr>
          <a:xfrm>
            <a:off x="4254500" y="1947324"/>
            <a:ext cx="7575999" cy="4010564"/>
          </a:xfrm>
        </p:spPr>
        <p:txBody>
          <a:bodyPr/>
          <a:lstStyle>
            <a:lvl1pPr>
              <a:defRPr/>
            </a:lvl1pPr>
          </a:lstStyle>
          <a:p>
            <a:pPr lvl="0"/>
            <a:r>
              <a:rPr lang="en-US"/>
              <a:t>Add text</a:t>
            </a:r>
          </a:p>
          <a:p>
            <a:pPr lvl="1"/>
            <a:r>
              <a:rPr lang="en-US"/>
              <a:t>Second level</a:t>
            </a:r>
          </a:p>
          <a:p>
            <a:pPr lvl="2"/>
            <a:r>
              <a:rPr lang="en-US"/>
              <a:t>Third level</a:t>
            </a:r>
          </a:p>
          <a:p>
            <a:pPr lvl="3"/>
            <a:r>
              <a:rPr lang="en-US"/>
              <a:t>Fourth level</a:t>
            </a:r>
          </a:p>
          <a:p>
            <a:pPr lvl="4"/>
            <a:r>
              <a:rPr lang="en-US"/>
              <a:t>Fifth level</a:t>
            </a:r>
          </a:p>
        </p:txBody>
      </p:sp>
      <p:sp>
        <p:nvSpPr>
          <p:cNvPr id="16" name="Title 1">
            <a:extLst>
              <a:ext uri="{FF2B5EF4-FFF2-40B4-BE49-F238E27FC236}">
                <a16:creationId xmlns:a16="http://schemas.microsoft.com/office/drawing/2014/main" id="{11DE99CC-1193-4724-B97A-63B084C77E8A}"/>
              </a:ext>
            </a:extLst>
          </p:cNvPr>
          <p:cNvSpPr>
            <a:spLocks noGrp="1"/>
          </p:cNvSpPr>
          <p:nvPr>
            <p:ph type="title" hasCustomPrompt="1"/>
          </p:nvPr>
        </p:nvSpPr>
        <p:spPr>
          <a:xfrm>
            <a:off x="360000" y="270001"/>
            <a:ext cx="11471638" cy="468000"/>
          </a:xfrm>
        </p:spPr>
        <p:txBody>
          <a:bodyPr>
            <a:noAutofit/>
          </a:bodyPr>
          <a:lstStyle>
            <a:lvl1pPr>
              <a:defRPr/>
            </a:lvl1pPr>
          </a:lstStyle>
          <a:p>
            <a:r>
              <a:rPr lang="en-US"/>
              <a:t>Add title</a:t>
            </a:r>
          </a:p>
        </p:txBody>
      </p:sp>
      <p:sp>
        <p:nvSpPr>
          <p:cNvPr id="17" name="Text Placeholder 8">
            <a:extLst>
              <a:ext uri="{FF2B5EF4-FFF2-40B4-BE49-F238E27FC236}">
                <a16:creationId xmlns:a16="http://schemas.microsoft.com/office/drawing/2014/main" id="{B2800772-5DC2-4428-A9AB-688654016454}"/>
              </a:ext>
            </a:extLst>
          </p:cNvPr>
          <p:cNvSpPr>
            <a:spLocks noGrp="1"/>
          </p:cNvSpPr>
          <p:nvPr>
            <p:ph type="body" sz="quarter" idx="13" hasCustomPrompt="1"/>
          </p:nvPr>
        </p:nvSpPr>
        <p:spPr>
          <a:xfrm>
            <a:off x="359639" y="742950"/>
            <a:ext cx="11471999" cy="468000"/>
          </a:xfrm>
        </p:spPr>
        <p:txBody>
          <a:bodyPr>
            <a:noAutofit/>
          </a:bodyPr>
          <a:lstStyle>
            <a:lvl1pPr marL="0" indent="0">
              <a:buFont typeface="Arial" panose="020B0604020202020204" pitchFamily="34" charset="0"/>
              <a:buNone/>
              <a:tabLst/>
              <a:defRPr sz="3200">
                <a:latin typeface="+mn-lt"/>
              </a:defRPr>
            </a:lvl1pPr>
            <a:lvl2pPr marL="0" indent="0">
              <a:buFont typeface="Arial" panose="020B0604020202020204" pitchFamily="34" charset="0"/>
              <a:buNone/>
              <a:tabLst/>
              <a:defRPr sz="3200">
                <a:latin typeface="+mn-lt"/>
              </a:defRPr>
            </a:lvl2pPr>
            <a:lvl3pPr marL="0" indent="0">
              <a:buFont typeface="Arial" panose="020B0604020202020204" pitchFamily="34" charset="0"/>
              <a:buNone/>
              <a:tabLst/>
              <a:defRPr sz="3200">
                <a:latin typeface="+mn-lt"/>
              </a:defRPr>
            </a:lvl3pPr>
            <a:lvl4pPr marL="0" indent="0">
              <a:buFont typeface="Arial" panose="020B0604020202020204" pitchFamily="34" charset="0"/>
              <a:buNone/>
              <a:tabLst/>
              <a:defRPr sz="3200">
                <a:latin typeface="+mn-lt"/>
              </a:defRPr>
            </a:lvl4pPr>
            <a:lvl5pPr marL="0" indent="0">
              <a:buFont typeface="Arial" panose="020B0604020202020204" pitchFamily="34" charset="0"/>
              <a:buNone/>
              <a:tabLst/>
              <a:defRPr sz="3200">
                <a:latin typeface="+mn-lt"/>
              </a:defRPr>
            </a:lvl5pPr>
          </a:lstStyle>
          <a:p>
            <a:pPr lvl="0"/>
            <a:r>
              <a:rPr lang="en-US"/>
              <a:t>Add subtitle</a:t>
            </a:r>
          </a:p>
        </p:txBody>
      </p:sp>
      <p:cxnSp>
        <p:nvCxnSpPr>
          <p:cNvPr id="18" name="Straight Connector 17">
            <a:extLst>
              <a:ext uri="{FF2B5EF4-FFF2-40B4-BE49-F238E27FC236}">
                <a16:creationId xmlns:a16="http://schemas.microsoft.com/office/drawing/2014/main" id="{903F7134-E454-4438-88AC-D186E1F59979}"/>
              </a:ext>
            </a:extLst>
          </p:cNvPr>
          <p:cNvCxnSpPr>
            <a:cxnSpLocks/>
          </p:cNvCxnSpPr>
          <p:nvPr userDrawn="1"/>
        </p:nvCxnSpPr>
        <p:spPr>
          <a:xfrm>
            <a:off x="358775" y="1798911"/>
            <a:ext cx="3679825"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D4A72D3E-ED9E-487D-8E75-BDE8764D0F2A}"/>
              </a:ext>
            </a:extLst>
          </p:cNvPr>
          <p:cNvCxnSpPr>
            <a:cxnSpLocks/>
          </p:cNvCxnSpPr>
          <p:nvPr userDrawn="1"/>
        </p:nvCxnSpPr>
        <p:spPr>
          <a:xfrm>
            <a:off x="4254500" y="1798911"/>
            <a:ext cx="7579037"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09773426"/>
      </p:ext>
    </p:extLst>
  </p:cSld>
  <p:clrMapOvr>
    <a:masterClrMapping/>
  </p:clrMapOvr>
  <p:extLst>
    <p:ext uri="{DCECCB84-F9BA-43D5-87BE-67443E8EF086}">
      <p15:sldGuideLst xmlns:p15="http://schemas.microsoft.com/office/powerpoint/2012/main">
        <p15:guide id="1" orient="horz" pos="170" userDrawn="1">
          <p15:clr>
            <a:srgbClr val="717275"/>
          </p15:clr>
        </p15:guide>
        <p15:guide id="2" orient="horz" pos="762" userDrawn="1">
          <p15:clr>
            <a:srgbClr val="717275"/>
          </p15:clr>
        </p15:guide>
        <p15:guide id="3" orient="horz" pos="1133" userDrawn="1">
          <p15:clr>
            <a:srgbClr val="FF96FF"/>
          </p15:clr>
        </p15:guide>
        <p15:guide id="4" orient="horz" pos="3753" userDrawn="1">
          <p15:clr>
            <a:srgbClr val="FF96FF"/>
          </p15:clr>
        </p15:guide>
        <p15:guide id="5" pos="226" userDrawn="1">
          <p15:clr>
            <a:srgbClr val="FF96FF"/>
          </p15:clr>
        </p15:guide>
        <p15:guide id="6" pos="2544" userDrawn="1">
          <p15:clr>
            <a:srgbClr val="FF96FF"/>
          </p15:clr>
        </p15:guide>
        <p15:guide id="7" pos="2680" userDrawn="1">
          <p15:clr>
            <a:srgbClr val="FF96FF"/>
          </p15:clr>
        </p15:guide>
        <p15:guide id="8" pos="4999" userDrawn="1">
          <p15:clr>
            <a:srgbClr val="FF96FF"/>
          </p15:clr>
        </p15:guide>
        <p15:guide id="9" pos="5135" userDrawn="1">
          <p15:clr>
            <a:srgbClr val="FF96FF"/>
          </p15:clr>
        </p15:guide>
        <p15:guide id="10" pos="7453" userDrawn="1">
          <p15:clr>
            <a:srgbClr val="FF96FF"/>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Four Content">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0D415900-5670-4A00-8CEC-6DFA5D57488E}"/>
              </a:ext>
            </a:extLst>
          </p:cNvPr>
          <p:cNvSpPr>
            <a:spLocks noGrp="1"/>
          </p:cNvSpPr>
          <p:nvPr>
            <p:ph type="dt" sz="half" idx="10"/>
          </p:nvPr>
        </p:nvSpPr>
        <p:spPr>
          <a:xfrm>
            <a:off x="847725" y="6946900"/>
            <a:ext cx="2743200" cy="365125"/>
          </a:xfrm>
          <a:prstGeom prst="rect">
            <a:avLst/>
          </a:prstGeom>
        </p:spPr>
        <p:txBody>
          <a:bodyPr/>
          <a:lstStyle/>
          <a:p>
            <a:fld id="{25BF746F-F7BD-4DAC-844B-31D72A7B82B4}" type="datetime1">
              <a:rPr lang="en-US" smtClean="0"/>
              <a:t>11/1/2023</a:t>
            </a:fld>
            <a:endParaRPr lang="en-US"/>
          </a:p>
        </p:txBody>
      </p:sp>
      <p:sp>
        <p:nvSpPr>
          <p:cNvPr id="4" name="Footer Placeholder 3">
            <a:extLst>
              <a:ext uri="{FF2B5EF4-FFF2-40B4-BE49-F238E27FC236}">
                <a16:creationId xmlns:a16="http://schemas.microsoft.com/office/drawing/2014/main" id="{E1308136-A193-42AF-B4F8-0FE8DD01F7C8}"/>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C8EE95C7-8261-4980-A6A7-1FCF4A6DE149}"/>
              </a:ext>
            </a:extLst>
          </p:cNvPr>
          <p:cNvSpPr>
            <a:spLocks noGrp="1"/>
          </p:cNvSpPr>
          <p:nvPr>
            <p:ph type="sldNum" sz="quarter" idx="12"/>
          </p:nvPr>
        </p:nvSpPr>
        <p:spPr/>
        <p:txBody>
          <a:bodyPr/>
          <a:lstStyle/>
          <a:p>
            <a:fld id="{9E2BE927-25C7-4379-86F1-C17ED9D2A7F2}" type="slidenum">
              <a:rPr lang="en-US" smtClean="0"/>
              <a:pPr/>
              <a:t>‹#›</a:t>
            </a:fld>
            <a:endParaRPr lang="en-US"/>
          </a:p>
        </p:txBody>
      </p:sp>
      <p:sp>
        <p:nvSpPr>
          <p:cNvPr id="6" name="Guides" hidden="1">
            <a:extLst>
              <a:ext uri="{FF2B5EF4-FFF2-40B4-BE49-F238E27FC236}">
                <a16:creationId xmlns:a16="http://schemas.microsoft.com/office/drawing/2014/main" id="{CA73A4EF-33F6-433B-9F35-5BB6B3C7B2A8}"/>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8" name="Content Placeholder 7">
            <a:extLst>
              <a:ext uri="{FF2B5EF4-FFF2-40B4-BE49-F238E27FC236}">
                <a16:creationId xmlns:a16="http://schemas.microsoft.com/office/drawing/2014/main" id="{9C0CB55A-7479-40ED-89A1-53B04326727E}"/>
              </a:ext>
            </a:extLst>
          </p:cNvPr>
          <p:cNvSpPr>
            <a:spLocks noGrp="1"/>
          </p:cNvSpPr>
          <p:nvPr>
            <p:ph sz="quarter" idx="13" hasCustomPrompt="1"/>
          </p:nvPr>
        </p:nvSpPr>
        <p:spPr>
          <a:xfrm>
            <a:off x="360363" y="1990725"/>
            <a:ext cx="5626100" cy="1779588"/>
          </a:xfrm>
        </p:spPr>
        <p:txBody>
          <a:bodyPr/>
          <a:lstStyle>
            <a:lvl1pPr>
              <a:defRPr/>
            </a:lvl1pPr>
          </a:lstStyle>
          <a:p>
            <a:pPr lvl="0"/>
            <a:r>
              <a:rPr lang="en-US"/>
              <a:t>Add text</a:t>
            </a:r>
          </a:p>
          <a:p>
            <a:pPr lvl="1"/>
            <a:r>
              <a:rPr lang="en-US"/>
              <a:t>Second level</a:t>
            </a:r>
          </a:p>
          <a:p>
            <a:pPr lvl="2"/>
            <a:r>
              <a:rPr lang="en-US"/>
              <a:t>Third level</a:t>
            </a:r>
          </a:p>
          <a:p>
            <a:pPr lvl="3"/>
            <a:r>
              <a:rPr lang="en-US"/>
              <a:t>Fourth level</a:t>
            </a:r>
          </a:p>
          <a:p>
            <a:pPr lvl="4"/>
            <a:r>
              <a:rPr lang="en-US"/>
              <a:t>Fifth level</a:t>
            </a:r>
          </a:p>
        </p:txBody>
      </p:sp>
      <p:sp>
        <p:nvSpPr>
          <p:cNvPr id="9" name="Content Placeholder 7">
            <a:extLst>
              <a:ext uri="{FF2B5EF4-FFF2-40B4-BE49-F238E27FC236}">
                <a16:creationId xmlns:a16="http://schemas.microsoft.com/office/drawing/2014/main" id="{1FBE7EB6-23B8-4042-9882-DF407708EA5F}"/>
              </a:ext>
            </a:extLst>
          </p:cNvPr>
          <p:cNvSpPr>
            <a:spLocks noGrp="1"/>
          </p:cNvSpPr>
          <p:nvPr>
            <p:ph sz="quarter" idx="14" hasCustomPrompt="1"/>
          </p:nvPr>
        </p:nvSpPr>
        <p:spPr>
          <a:xfrm>
            <a:off x="360001" y="4179088"/>
            <a:ext cx="5626100" cy="1779588"/>
          </a:xfrm>
        </p:spPr>
        <p:txBody>
          <a:bodyPr/>
          <a:lstStyle/>
          <a:p>
            <a:pPr lvl="0"/>
            <a:r>
              <a:rPr lang="en-US"/>
              <a:t>Add text </a:t>
            </a:r>
          </a:p>
          <a:p>
            <a:pPr lvl="1"/>
            <a:r>
              <a:rPr lang="en-US"/>
              <a:t>Second level</a:t>
            </a:r>
          </a:p>
          <a:p>
            <a:pPr lvl="2"/>
            <a:r>
              <a:rPr lang="en-US"/>
              <a:t>Third level</a:t>
            </a:r>
          </a:p>
          <a:p>
            <a:pPr lvl="3"/>
            <a:r>
              <a:rPr lang="en-US"/>
              <a:t>Fourth level</a:t>
            </a:r>
          </a:p>
          <a:p>
            <a:pPr lvl="4"/>
            <a:r>
              <a:rPr lang="en-US"/>
              <a:t>Fifth level</a:t>
            </a:r>
          </a:p>
        </p:txBody>
      </p:sp>
      <p:sp>
        <p:nvSpPr>
          <p:cNvPr id="10" name="Content Placeholder 7">
            <a:extLst>
              <a:ext uri="{FF2B5EF4-FFF2-40B4-BE49-F238E27FC236}">
                <a16:creationId xmlns:a16="http://schemas.microsoft.com/office/drawing/2014/main" id="{DD28430F-2DC6-4B69-BDBC-F973117F63A8}"/>
              </a:ext>
            </a:extLst>
          </p:cNvPr>
          <p:cNvSpPr>
            <a:spLocks noGrp="1"/>
          </p:cNvSpPr>
          <p:nvPr>
            <p:ph sz="quarter" idx="15" hasCustomPrompt="1"/>
          </p:nvPr>
        </p:nvSpPr>
        <p:spPr>
          <a:xfrm>
            <a:off x="6204001" y="1992089"/>
            <a:ext cx="5626100" cy="1779588"/>
          </a:xfrm>
        </p:spPr>
        <p:txBody>
          <a:bodyPr/>
          <a:lstStyle/>
          <a:p>
            <a:pPr lvl="0"/>
            <a:r>
              <a:rPr lang="en-US"/>
              <a:t>Add text </a:t>
            </a:r>
          </a:p>
          <a:p>
            <a:pPr lvl="1"/>
            <a:r>
              <a:rPr lang="en-US"/>
              <a:t>Second level</a:t>
            </a:r>
          </a:p>
          <a:p>
            <a:pPr lvl="2"/>
            <a:r>
              <a:rPr lang="en-US"/>
              <a:t>Third level</a:t>
            </a:r>
          </a:p>
          <a:p>
            <a:pPr lvl="3"/>
            <a:r>
              <a:rPr lang="en-US"/>
              <a:t>Fourth level</a:t>
            </a:r>
          </a:p>
          <a:p>
            <a:pPr lvl="4"/>
            <a:r>
              <a:rPr lang="en-US"/>
              <a:t>Fifth level</a:t>
            </a:r>
          </a:p>
        </p:txBody>
      </p:sp>
      <p:sp>
        <p:nvSpPr>
          <p:cNvPr id="11" name="Content Placeholder 7">
            <a:extLst>
              <a:ext uri="{FF2B5EF4-FFF2-40B4-BE49-F238E27FC236}">
                <a16:creationId xmlns:a16="http://schemas.microsoft.com/office/drawing/2014/main" id="{32B5A710-CB0F-4BC5-8082-1CBE8A24808D}"/>
              </a:ext>
            </a:extLst>
          </p:cNvPr>
          <p:cNvSpPr>
            <a:spLocks noGrp="1"/>
          </p:cNvSpPr>
          <p:nvPr>
            <p:ph sz="quarter" idx="16" hasCustomPrompt="1"/>
          </p:nvPr>
        </p:nvSpPr>
        <p:spPr>
          <a:xfrm>
            <a:off x="6204001" y="4179088"/>
            <a:ext cx="5626100" cy="1779588"/>
          </a:xfrm>
        </p:spPr>
        <p:txBody>
          <a:bodyPr/>
          <a:lstStyle/>
          <a:p>
            <a:pPr lvl="0"/>
            <a:r>
              <a:rPr lang="en-US"/>
              <a:t>Add text </a:t>
            </a:r>
          </a:p>
          <a:p>
            <a:pPr lvl="1"/>
            <a:r>
              <a:rPr lang="en-US"/>
              <a:t>Second level</a:t>
            </a:r>
          </a:p>
          <a:p>
            <a:pPr lvl="2"/>
            <a:r>
              <a:rPr lang="en-US"/>
              <a:t>Third level</a:t>
            </a:r>
          </a:p>
          <a:p>
            <a:pPr lvl="3"/>
            <a:r>
              <a:rPr lang="en-US"/>
              <a:t>Fourth level</a:t>
            </a:r>
          </a:p>
          <a:p>
            <a:pPr lvl="4"/>
            <a:r>
              <a:rPr lang="en-US"/>
              <a:t>Fifth level</a:t>
            </a:r>
          </a:p>
        </p:txBody>
      </p:sp>
      <p:sp>
        <p:nvSpPr>
          <p:cNvPr id="17" name="Title 1">
            <a:extLst>
              <a:ext uri="{FF2B5EF4-FFF2-40B4-BE49-F238E27FC236}">
                <a16:creationId xmlns:a16="http://schemas.microsoft.com/office/drawing/2014/main" id="{C80A491E-47F6-45BF-A924-5EA71B7C7F43}"/>
              </a:ext>
            </a:extLst>
          </p:cNvPr>
          <p:cNvSpPr>
            <a:spLocks noGrp="1"/>
          </p:cNvSpPr>
          <p:nvPr>
            <p:ph type="title" hasCustomPrompt="1"/>
          </p:nvPr>
        </p:nvSpPr>
        <p:spPr>
          <a:xfrm>
            <a:off x="360000" y="270001"/>
            <a:ext cx="11471638" cy="468000"/>
          </a:xfrm>
        </p:spPr>
        <p:txBody>
          <a:bodyPr>
            <a:noAutofit/>
          </a:bodyPr>
          <a:lstStyle>
            <a:lvl1pPr>
              <a:defRPr/>
            </a:lvl1pPr>
          </a:lstStyle>
          <a:p>
            <a:r>
              <a:rPr lang="en-US"/>
              <a:t>Add title</a:t>
            </a:r>
          </a:p>
        </p:txBody>
      </p:sp>
      <p:sp>
        <p:nvSpPr>
          <p:cNvPr id="18" name="Text Placeholder 8">
            <a:extLst>
              <a:ext uri="{FF2B5EF4-FFF2-40B4-BE49-F238E27FC236}">
                <a16:creationId xmlns:a16="http://schemas.microsoft.com/office/drawing/2014/main" id="{A5F7C43A-4B76-400E-95CB-C88610641FD9}"/>
              </a:ext>
            </a:extLst>
          </p:cNvPr>
          <p:cNvSpPr>
            <a:spLocks noGrp="1"/>
          </p:cNvSpPr>
          <p:nvPr>
            <p:ph type="body" sz="quarter" idx="21" hasCustomPrompt="1"/>
          </p:nvPr>
        </p:nvSpPr>
        <p:spPr>
          <a:xfrm>
            <a:off x="359639" y="742950"/>
            <a:ext cx="11471999" cy="468000"/>
          </a:xfrm>
        </p:spPr>
        <p:txBody>
          <a:bodyPr>
            <a:noAutofit/>
          </a:bodyPr>
          <a:lstStyle>
            <a:lvl1pPr marL="0" indent="0">
              <a:buFont typeface="Arial" panose="020B0604020202020204" pitchFamily="34" charset="0"/>
              <a:buNone/>
              <a:tabLst/>
              <a:defRPr sz="3200">
                <a:latin typeface="+mn-lt"/>
              </a:defRPr>
            </a:lvl1pPr>
            <a:lvl2pPr marL="0" indent="0">
              <a:buFont typeface="Arial" panose="020B0604020202020204" pitchFamily="34" charset="0"/>
              <a:buNone/>
              <a:tabLst/>
              <a:defRPr sz="3200">
                <a:latin typeface="+mn-lt"/>
              </a:defRPr>
            </a:lvl2pPr>
            <a:lvl3pPr marL="0" indent="0">
              <a:buFont typeface="Arial" panose="020B0604020202020204" pitchFamily="34" charset="0"/>
              <a:buNone/>
              <a:tabLst/>
              <a:defRPr sz="3200">
                <a:latin typeface="+mn-lt"/>
              </a:defRPr>
            </a:lvl3pPr>
            <a:lvl4pPr marL="0" indent="0">
              <a:buFont typeface="Arial" panose="020B0604020202020204" pitchFamily="34" charset="0"/>
              <a:buNone/>
              <a:tabLst/>
              <a:defRPr sz="3200">
                <a:latin typeface="+mn-lt"/>
              </a:defRPr>
            </a:lvl4pPr>
            <a:lvl5pPr marL="0" indent="0">
              <a:buFont typeface="Arial" panose="020B0604020202020204" pitchFamily="34" charset="0"/>
              <a:buNone/>
              <a:tabLst/>
              <a:defRPr sz="3200">
                <a:latin typeface="+mn-lt"/>
              </a:defRPr>
            </a:lvl5pPr>
          </a:lstStyle>
          <a:p>
            <a:pPr lvl="0"/>
            <a:r>
              <a:rPr lang="en-US"/>
              <a:t>Add subtitle</a:t>
            </a:r>
          </a:p>
        </p:txBody>
      </p:sp>
      <p:cxnSp>
        <p:nvCxnSpPr>
          <p:cNvPr id="19" name="Straight Connector 18">
            <a:extLst>
              <a:ext uri="{FF2B5EF4-FFF2-40B4-BE49-F238E27FC236}">
                <a16:creationId xmlns:a16="http://schemas.microsoft.com/office/drawing/2014/main" id="{1A7C6F75-47E5-4F2E-92C5-475D6C76AD3D}"/>
              </a:ext>
            </a:extLst>
          </p:cNvPr>
          <p:cNvCxnSpPr>
            <a:cxnSpLocks/>
          </p:cNvCxnSpPr>
          <p:nvPr userDrawn="1"/>
        </p:nvCxnSpPr>
        <p:spPr>
          <a:xfrm>
            <a:off x="358775" y="1798911"/>
            <a:ext cx="5629587"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6FE475C4-5A0E-470E-B51E-CEBEB03A703D}"/>
              </a:ext>
            </a:extLst>
          </p:cNvPr>
          <p:cNvCxnSpPr>
            <a:cxnSpLocks/>
          </p:cNvCxnSpPr>
          <p:nvPr userDrawn="1"/>
        </p:nvCxnSpPr>
        <p:spPr>
          <a:xfrm>
            <a:off x="6203950" y="1798911"/>
            <a:ext cx="5629587"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FCAC31F0-1F31-4AFD-8F00-38DDCF90A121}"/>
              </a:ext>
            </a:extLst>
          </p:cNvPr>
          <p:cNvCxnSpPr>
            <a:cxnSpLocks/>
          </p:cNvCxnSpPr>
          <p:nvPr userDrawn="1"/>
        </p:nvCxnSpPr>
        <p:spPr>
          <a:xfrm>
            <a:off x="358775" y="3994424"/>
            <a:ext cx="5629587"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DE9297BE-4964-47FC-AF8B-898DB2EE6301}"/>
              </a:ext>
            </a:extLst>
          </p:cNvPr>
          <p:cNvCxnSpPr>
            <a:cxnSpLocks/>
          </p:cNvCxnSpPr>
          <p:nvPr userDrawn="1"/>
        </p:nvCxnSpPr>
        <p:spPr>
          <a:xfrm>
            <a:off x="6203950" y="3994424"/>
            <a:ext cx="5629587"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11322059"/>
      </p:ext>
    </p:extLst>
  </p:cSld>
  <p:clrMapOvr>
    <a:masterClrMapping/>
  </p:clrMapOvr>
  <p:extLst>
    <p:ext uri="{DCECCB84-F9BA-43D5-87BE-67443E8EF086}">
      <p15:sldGuideLst xmlns:p15="http://schemas.microsoft.com/office/powerpoint/2012/main">
        <p15:guide id="1" orient="horz" pos="170" userDrawn="1">
          <p15:clr>
            <a:srgbClr val="717275"/>
          </p15:clr>
        </p15:guide>
        <p15:guide id="2" orient="horz" pos="762" userDrawn="1">
          <p15:clr>
            <a:srgbClr val="717275"/>
          </p15:clr>
        </p15:guide>
        <p15:guide id="3" orient="horz" pos="1133" userDrawn="1">
          <p15:clr>
            <a:srgbClr val="FF96FF"/>
          </p15:clr>
        </p15:guide>
        <p15:guide id="4" orient="horz" pos="2375" userDrawn="1">
          <p15:clr>
            <a:srgbClr val="FF96FF"/>
          </p15:clr>
        </p15:guide>
        <p15:guide id="5" orient="horz" pos="2511" userDrawn="1">
          <p15:clr>
            <a:srgbClr val="FF96FF"/>
          </p15:clr>
        </p15:guide>
        <p15:guide id="6" orient="horz" pos="3753" userDrawn="1">
          <p15:clr>
            <a:srgbClr val="FF96FF"/>
          </p15:clr>
        </p15:guide>
        <p15:guide id="7" pos="226" userDrawn="1">
          <p15:clr>
            <a:srgbClr val="FF96FF"/>
          </p15:clr>
        </p15:guide>
        <p15:guide id="8" pos="3771" userDrawn="1">
          <p15:clr>
            <a:srgbClr val="FF96FF"/>
          </p15:clr>
        </p15:guide>
        <p15:guide id="9" pos="3908" userDrawn="1">
          <p15:clr>
            <a:srgbClr val="FF96FF"/>
          </p15:clr>
        </p15:guide>
        <p15:guide id="10" pos="7453" userDrawn="1">
          <p15:clr>
            <a:srgbClr val="FF96FF"/>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Statem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B06A07A4-FC84-46D6-8C0C-1AE653D2DF4E}"/>
              </a:ext>
            </a:extLst>
          </p:cNvPr>
          <p:cNvSpPr>
            <a:spLocks noGrp="1"/>
          </p:cNvSpPr>
          <p:nvPr>
            <p:ph idx="1" hasCustomPrompt="1"/>
          </p:nvPr>
        </p:nvSpPr>
        <p:spPr>
          <a:xfrm>
            <a:off x="360000" y="269875"/>
            <a:ext cx="8549050" cy="5688125"/>
          </a:xfrm>
        </p:spPr>
        <p:txBody>
          <a:bodyPr/>
          <a:lstStyle>
            <a:lvl1pPr marL="0" indent="0">
              <a:buNone/>
              <a:defRPr sz="3200"/>
            </a:lvl1pPr>
            <a:lvl2pPr marL="0" indent="0">
              <a:buNone/>
              <a:defRPr sz="3200"/>
            </a:lvl2pPr>
            <a:lvl3pPr marL="0" indent="0">
              <a:buNone/>
              <a:defRPr sz="2400"/>
            </a:lvl3pPr>
            <a:lvl4pPr marL="0" indent="0">
              <a:buNone/>
              <a:defRPr sz="2400"/>
            </a:lvl4pPr>
            <a:lvl5pPr marL="0" indent="0">
              <a:buNone/>
              <a:defRPr sz="2400"/>
            </a:lvl5pPr>
          </a:lstStyle>
          <a:p>
            <a:pPr lvl="0"/>
            <a:r>
              <a:rPr lang="en-US"/>
              <a:t>Add statement</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12B9C8B6-8205-4C76-A8B3-6A0AD901D06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94182E6-4E4D-4619-8935-1EE0C5AA0FFB}"/>
              </a:ext>
            </a:extLst>
          </p:cNvPr>
          <p:cNvSpPr>
            <a:spLocks noGrp="1"/>
          </p:cNvSpPr>
          <p:nvPr>
            <p:ph type="sldNum" sz="quarter" idx="12"/>
          </p:nvPr>
        </p:nvSpPr>
        <p:spPr/>
        <p:txBody>
          <a:bodyPr/>
          <a:lstStyle/>
          <a:p>
            <a:fld id="{9E2BE927-25C7-4379-86F1-C17ED9D2A7F2}" type="slidenum">
              <a:rPr lang="en-US" smtClean="0"/>
              <a:t>‹#›</a:t>
            </a:fld>
            <a:endParaRPr lang="en-US"/>
          </a:p>
        </p:txBody>
      </p:sp>
      <p:sp>
        <p:nvSpPr>
          <p:cNvPr id="7" name="Guides" hidden="1">
            <a:extLst>
              <a:ext uri="{FF2B5EF4-FFF2-40B4-BE49-F238E27FC236}">
                <a16:creationId xmlns:a16="http://schemas.microsoft.com/office/drawing/2014/main" id="{BB27FE75-A2B8-4B3A-85AA-B08EC1555E5F}"/>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Tree>
    <p:extLst>
      <p:ext uri="{BB962C8B-B14F-4D97-AF65-F5344CB8AC3E}">
        <p14:creationId xmlns:p14="http://schemas.microsoft.com/office/powerpoint/2010/main" val="3205893912"/>
      </p:ext>
    </p:extLst>
  </p:cSld>
  <p:clrMapOvr>
    <a:masterClrMapping/>
  </p:clrMapOvr>
  <p:extLst>
    <p:ext uri="{DCECCB84-F9BA-43D5-87BE-67443E8EF086}">
      <p15:sldGuideLst xmlns:p15="http://schemas.microsoft.com/office/powerpoint/2012/main">
        <p15:guide id="1" orient="horz" pos="170" userDrawn="1">
          <p15:clr>
            <a:srgbClr val="717275"/>
          </p15:clr>
        </p15:guide>
        <p15:guide id="2" orient="horz" pos="762" userDrawn="1">
          <p15:clr>
            <a:srgbClr val="717275"/>
          </p15:clr>
        </p15:guide>
        <p15:guide id="3" orient="horz" pos="1133" userDrawn="1">
          <p15:clr>
            <a:srgbClr val="FF96FF"/>
          </p15:clr>
        </p15:guide>
        <p15:guide id="4" orient="horz" pos="3753" userDrawn="1">
          <p15:clr>
            <a:srgbClr val="FF96FF"/>
          </p15:clr>
        </p15:guide>
        <p15:guide id="5" pos="226" userDrawn="1">
          <p15:clr>
            <a:srgbClr val="FF96FF"/>
          </p15:clr>
        </p15:guide>
        <p15:guide id="6" pos="1931" userDrawn="1">
          <p15:clr>
            <a:srgbClr val="FF96FF"/>
          </p15:clr>
        </p15:guide>
        <p15:guide id="7" pos="2067" userDrawn="1">
          <p15:clr>
            <a:srgbClr val="FF96FF"/>
          </p15:clr>
        </p15:guide>
        <p15:guide id="8" pos="3771" userDrawn="1">
          <p15:clr>
            <a:srgbClr val="FF96FF"/>
          </p15:clr>
        </p15:guide>
        <p15:guide id="9" pos="3908" userDrawn="1">
          <p15:clr>
            <a:srgbClr val="FF96FF"/>
          </p15:clr>
        </p15:guide>
        <p15:guide id="10" pos="5612" userDrawn="1">
          <p15:clr>
            <a:srgbClr val="FF96FF"/>
          </p15:clr>
        </p15:guide>
        <p15:guide id="11" pos="5748" userDrawn="1">
          <p15:clr>
            <a:srgbClr val="FF96FF"/>
          </p15:clr>
        </p15:guide>
        <p15:guide id="12" pos="7453" userDrawn="1">
          <p15:clr>
            <a:srgbClr val="FF96FF"/>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List">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12B9C8B6-8205-4C76-A8B3-6A0AD901D06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94182E6-4E4D-4619-8935-1EE0C5AA0FFB}"/>
              </a:ext>
            </a:extLst>
          </p:cNvPr>
          <p:cNvSpPr>
            <a:spLocks noGrp="1"/>
          </p:cNvSpPr>
          <p:nvPr>
            <p:ph type="sldNum" sz="quarter" idx="12"/>
          </p:nvPr>
        </p:nvSpPr>
        <p:spPr/>
        <p:txBody>
          <a:bodyPr/>
          <a:lstStyle/>
          <a:p>
            <a:fld id="{9E2BE927-25C7-4379-86F1-C17ED9D2A7F2}" type="slidenum">
              <a:rPr lang="en-US" smtClean="0"/>
              <a:t>‹#›</a:t>
            </a:fld>
            <a:endParaRPr lang="en-US"/>
          </a:p>
        </p:txBody>
      </p:sp>
      <p:sp>
        <p:nvSpPr>
          <p:cNvPr id="7" name="Guides" hidden="1">
            <a:extLst>
              <a:ext uri="{FF2B5EF4-FFF2-40B4-BE49-F238E27FC236}">
                <a16:creationId xmlns:a16="http://schemas.microsoft.com/office/drawing/2014/main" id="{BB27FE75-A2B8-4B3A-85AA-B08EC1555E5F}"/>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13" name="Content Placeholder 11">
            <a:extLst>
              <a:ext uri="{FF2B5EF4-FFF2-40B4-BE49-F238E27FC236}">
                <a16:creationId xmlns:a16="http://schemas.microsoft.com/office/drawing/2014/main" id="{7001D27A-CE9D-4509-A7FC-7A259D47B689}"/>
              </a:ext>
            </a:extLst>
          </p:cNvPr>
          <p:cNvSpPr>
            <a:spLocks noGrp="1"/>
          </p:cNvSpPr>
          <p:nvPr>
            <p:ph sz="quarter" idx="18" hasCustomPrompt="1"/>
          </p:nvPr>
        </p:nvSpPr>
        <p:spPr>
          <a:xfrm>
            <a:off x="360363" y="1947863"/>
            <a:ext cx="11471275" cy="4002087"/>
          </a:xfrm>
        </p:spPr>
        <p:txBody>
          <a:bodyPr/>
          <a:lstStyle>
            <a:lvl1pPr marL="447675" indent="-447675">
              <a:buFont typeface="+mj-lt"/>
              <a:buAutoNum type="arabicPeriod"/>
              <a:defRPr/>
            </a:lvl1pPr>
            <a:lvl2pPr marL="447675" indent="0">
              <a:buFont typeface="Arial" panose="020B0604020202020204" pitchFamily="34" charset="0"/>
              <a:buNone/>
              <a:defRPr/>
            </a:lvl2pPr>
            <a:lvl3pPr marL="447675" indent="0">
              <a:buFont typeface="Arial" panose="020B0604020202020204" pitchFamily="34" charset="0"/>
              <a:buNone/>
              <a:defRPr sz="2000"/>
            </a:lvl3pPr>
            <a:lvl4pPr marL="447675" indent="0">
              <a:buFont typeface="Arial" panose="020B0604020202020204" pitchFamily="34" charset="0"/>
              <a:buNone/>
              <a:defRPr sz="2000"/>
            </a:lvl4pPr>
            <a:lvl5pPr marL="447675" indent="0">
              <a:buFont typeface="Arial" panose="020B0604020202020204" pitchFamily="34" charset="0"/>
              <a:buNone/>
              <a:defRPr sz="2000"/>
            </a:lvl5pPr>
          </a:lstStyle>
          <a:p>
            <a:pPr lvl="0"/>
            <a:r>
              <a:rPr lang="en-US"/>
              <a:t>Add text</a:t>
            </a:r>
          </a:p>
          <a:p>
            <a:pPr lvl="1"/>
            <a:r>
              <a:rPr lang="en-US"/>
              <a:t>Second level</a:t>
            </a:r>
          </a:p>
          <a:p>
            <a:pPr lvl="2"/>
            <a:r>
              <a:rPr lang="en-US"/>
              <a:t>Third level</a:t>
            </a:r>
          </a:p>
          <a:p>
            <a:pPr lvl="3"/>
            <a:r>
              <a:rPr lang="en-US"/>
              <a:t>Fourth level</a:t>
            </a:r>
          </a:p>
          <a:p>
            <a:pPr lvl="4"/>
            <a:r>
              <a:rPr lang="en-US"/>
              <a:t>Fifth level</a:t>
            </a:r>
          </a:p>
        </p:txBody>
      </p:sp>
      <p:sp>
        <p:nvSpPr>
          <p:cNvPr id="16" name="Title 1">
            <a:extLst>
              <a:ext uri="{FF2B5EF4-FFF2-40B4-BE49-F238E27FC236}">
                <a16:creationId xmlns:a16="http://schemas.microsoft.com/office/drawing/2014/main" id="{2D7373FE-7057-4E61-81F2-247C5DF71C41}"/>
              </a:ext>
            </a:extLst>
          </p:cNvPr>
          <p:cNvSpPr>
            <a:spLocks noGrp="1"/>
          </p:cNvSpPr>
          <p:nvPr>
            <p:ph type="title" hasCustomPrompt="1"/>
          </p:nvPr>
        </p:nvSpPr>
        <p:spPr>
          <a:xfrm>
            <a:off x="360000" y="270001"/>
            <a:ext cx="11471638" cy="939674"/>
          </a:xfrm>
        </p:spPr>
        <p:txBody>
          <a:bodyPr>
            <a:noAutofit/>
          </a:bodyPr>
          <a:lstStyle>
            <a:lvl1pPr>
              <a:defRPr/>
            </a:lvl1pPr>
          </a:lstStyle>
          <a:p>
            <a:r>
              <a:rPr lang="en-US"/>
              <a:t>Add title</a:t>
            </a:r>
          </a:p>
        </p:txBody>
      </p:sp>
      <p:cxnSp>
        <p:nvCxnSpPr>
          <p:cNvPr id="18" name="Straight Connector 17">
            <a:extLst>
              <a:ext uri="{FF2B5EF4-FFF2-40B4-BE49-F238E27FC236}">
                <a16:creationId xmlns:a16="http://schemas.microsoft.com/office/drawing/2014/main" id="{0E7FA34B-EEB9-42C9-AD58-5C7F04D424F0}"/>
              </a:ext>
            </a:extLst>
          </p:cNvPr>
          <p:cNvCxnSpPr>
            <a:cxnSpLocks/>
          </p:cNvCxnSpPr>
          <p:nvPr userDrawn="1"/>
        </p:nvCxnSpPr>
        <p:spPr>
          <a:xfrm>
            <a:off x="358775" y="1798911"/>
            <a:ext cx="5629587"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E11A9CCD-3B12-4805-8689-E040326E9E78}"/>
              </a:ext>
            </a:extLst>
          </p:cNvPr>
          <p:cNvCxnSpPr>
            <a:cxnSpLocks/>
          </p:cNvCxnSpPr>
          <p:nvPr userDrawn="1"/>
        </p:nvCxnSpPr>
        <p:spPr>
          <a:xfrm>
            <a:off x="6203950" y="1798911"/>
            <a:ext cx="5629587"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A93C9196-E8C7-4685-95CA-36E3A9290921}"/>
              </a:ext>
            </a:extLst>
          </p:cNvPr>
          <p:cNvCxnSpPr>
            <a:cxnSpLocks/>
          </p:cNvCxnSpPr>
          <p:nvPr userDrawn="1"/>
        </p:nvCxnSpPr>
        <p:spPr>
          <a:xfrm>
            <a:off x="358775" y="6104211"/>
            <a:ext cx="5629587"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0B92039B-F1A2-4FDE-A65A-56F1642D689D}"/>
              </a:ext>
            </a:extLst>
          </p:cNvPr>
          <p:cNvCxnSpPr>
            <a:cxnSpLocks/>
          </p:cNvCxnSpPr>
          <p:nvPr userDrawn="1"/>
        </p:nvCxnSpPr>
        <p:spPr>
          <a:xfrm>
            <a:off x="6203950" y="6104211"/>
            <a:ext cx="5629587"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00131733"/>
      </p:ext>
    </p:extLst>
  </p:cSld>
  <p:clrMapOvr>
    <a:masterClrMapping/>
  </p:clrMapOvr>
  <p:extLst>
    <p:ext uri="{DCECCB84-F9BA-43D5-87BE-67443E8EF086}">
      <p15:sldGuideLst xmlns:p15="http://schemas.microsoft.com/office/powerpoint/2012/main">
        <p15:guide id="1" orient="horz" pos="170" userDrawn="1">
          <p15:clr>
            <a:srgbClr val="717275"/>
          </p15:clr>
        </p15:guide>
        <p15:guide id="2" orient="horz" pos="762" userDrawn="1">
          <p15:clr>
            <a:srgbClr val="717275"/>
          </p15:clr>
        </p15:guide>
        <p15:guide id="3" orient="horz" pos="1133" userDrawn="1">
          <p15:clr>
            <a:srgbClr val="FF96FF"/>
          </p15:clr>
        </p15:guide>
        <p15:guide id="4" orient="horz" pos="3753" userDrawn="1">
          <p15:clr>
            <a:srgbClr val="FF96FF"/>
          </p15:clr>
        </p15:guide>
        <p15:guide id="5" pos="226" userDrawn="1">
          <p15:clr>
            <a:srgbClr val="FF96FF"/>
          </p15:clr>
        </p15:guide>
        <p15:guide id="6" pos="3771" userDrawn="1">
          <p15:clr>
            <a:srgbClr val="FF96FF"/>
          </p15:clr>
        </p15:guide>
        <p15:guide id="7" pos="3908" userDrawn="1">
          <p15:clr>
            <a:srgbClr val="FF96FF"/>
          </p15:clr>
        </p15:guide>
        <p15:guide id="8" pos="7453" userDrawn="1">
          <p15:clr>
            <a:srgbClr val="FF96FF"/>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hree Stats">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B06A07A4-FC84-46D6-8C0C-1AE653D2DF4E}"/>
              </a:ext>
            </a:extLst>
          </p:cNvPr>
          <p:cNvSpPr>
            <a:spLocks noGrp="1"/>
          </p:cNvSpPr>
          <p:nvPr>
            <p:ph idx="1" hasCustomPrompt="1"/>
          </p:nvPr>
        </p:nvSpPr>
        <p:spPr>
          <a:xfrm>
            <a:off x="359639" y="3463301"/>
            <a:ext cx="3678237" cy="1438209"/>
          </a:xfrm>
        </p:spPr>
        <p:txBody>
          <a:bodyPr/>
          <a:lstStyle>
            <a:lvl1pPr>
              <a:defRPr/>
            </a:lvl1pPr>
            <a:lvl2pPr>
              <a:defRPr/>
            </a:lvl2pPr>
          </a:lstStyle>
          <a:p>
            <a:pPr lvl="0"/>
            <a:r>
              <a:rPr lang="en-US"/>
              <a:t>Add text</a:t>
            </a:r>
          </a:p>
          <a:p>
            <a:pPr lvl="1"/>
            <a:r>
              <a:rPr lang="en-US"/>
              <a:t>Second level</a:t>
            </a:r>
          </a:p>
          <a:p>
            <a:pPr lvl="2"/>
            <a:r>
              <a:rPr lang="en-US"/>
              <a:t>Third level</a:t>
            </a:r>
          </a:p>
        </p:txBody>
      </p:sp>
      <p:sp>
        <p:nvSpPr>
          <p:cNvPr id="5" name="Footer Placeholder 4">
            <a:extLst>
              <a:ext uri="{FF2B5EF4-FFF2-40B4-BE49-F238E27FC236}">
                <a16:creationId xmlns:a16="http://schemas.microsoft.com/office/drawing/2014/main" id="{12B9C8B6-8205-4C76-A8B3-6A0AD901D06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94182E6-4E4D-4619-8935-1EE0C5AA0FFB}"/>
              </a:ext>
            </a:extLst>
          </p:cNvPr>
          <p:cNvSpPr>
            <a:spLocks noGrp="1"/>
          </p:cNvSpPr>
          <p:nvPr>
            <p:ph type="sldNum" sz="quarter" idx="12"/>
          </p:nvPr>
        </p:nvSpPr>
        <p:spPr/>
        <p:txBody>
          <a:bodyPr/>
          <a:lstStyle/>
          <a:p>
            <a:fld id="{9E2BE927-25C7-4379-86F1-C17ED9D2A7F2}" type="slidenum">
              <a:rPr lang="en-US" smtClean="0"/>
              <a:t>‹#›</a:t>
            </a:fld>
            <a:endParaRPr lang="en-US"/>
          </a:p>
        </p:txBody>
      </p:sp>
      <p:sp>
        <p:nvSpPr>
          <p:cNvPr id="7" name="Guides" hidden="1">
            <a:extLst>
              <a:ext uri="{FF2B5EF4-FFF2-40B4-BE49-F238E27FC236}">
                <a16:creationId xmlns:a16="http://schemas.microsoft.com/office/drawing/2014/main" id="{BB27FE75-A2B8-4B3A-85AA-B08EC1555E5F}"/>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12" name="Picture Placeholder 11">
            <a:extLst>
              <a:ext uri="{FF2B5EF4-FFF2-40B4-BE49-F238E27FC236}">
                <a16:creationId xmlns:a16="http://schemas.microsoft.com/office/drawing/2014/main" id="{4CADCDFA-40D3-4FE8-8482-2352DB54BCE1}"/>
              </a:ext>
            </a:extLst>
          </p:cNvPr>
          <p:cNvSpPr>
            <a:spLocks noGrp="1"/>
          </p:cNvSpPr>
          <p:nvPr>
            <p:ph type="pic" sz="quarter" idx="16" hasCustomPrompt="1"/>
          </p:nvPr>
        </p:nvSpPr>
        <p:spPr>
          <a:xfrm>
            <a:off x="360363" y="1817888"/>
            <a:ext cx="3678237" cy="1233487"/>
          </a:xfrm>
        </p:spPr>
        <p:txBody>
          <a:bodyPr tIns="144000"/>
          <a:lstStyle>
            <a:lvl1pPr marL="0" indent="0" algn="ctr">
              <a:buNone/>
              <a:defRPr/>
            </a:lvl1pPr>
          </a:lstStyle>
          <a:p>
            <a:r>
              <a:rPr lang="en-US"/>
              <a:t>Add icon or image</a:t>
            </a:r>
          </a:p>
        </p:txBody>
      </p:sp>
      <p:sp>
        <p:nvSpPr>
          <p:cNvPr id="13" name="Content Placeholder 2">
            <a:extLst>
              <a:ext uri="{FF2B5EF4-FFF2-40B4-BE49-F238E27FC236}">
                <a16:creationId xmlns:a16="http://schemas.microsoft.com/office/drawing/2014/main" id="{07BFC6C2-0944-41C4-A1F8-DBF51C90720C}"/>
              </a:ext>
            </a:extLst>
          </p:cNvPr>
          <p:cNvSpPr>
            <a:spLocks noGrp="1"/>
          </p:cNvSpPr>
          <p:nvPr>
            <p:ph idx="17" hasCustomPrompt="1"/>
          </p:nvPr>
        </p:nvSpPr>
        <p:spPr>
          <a:xfrm>
            <a:off x="4253776" y="3463301"/>
            <a:ext cx="3678237" cy="1445742"/>
          </a:xfrm>
        </p:spPr>
        <p:txBody>
          <a:bodyPr/>
          <a:lstStyle>
            <a:lvl1pPr>
              <a:defRPr/>
            </a:lvl1pPr>
          </a:lstStyle>
          <a:p>
            <a:pPr lvl="0"/>
            <a:r>
              <a:rPr lang="en-US"/>
              <a:t>Add text</a:t>
            </a:r>
          </a:p>
          <a:p>
            <a:pPr lvl="1"/>
            <a:r>
              <a:rPr lang="en-US"/>
              <a:t>Second level</a:t>
            </a:r>
          </a:p>
          <a:p>
            <a:pPr lvl="2"/>
            <a:r>
              <a:rPr lang="en-US"/>
              <a:t>Third level</a:t>
            </a:r>
          </a:p>
        </p:txBody>
      </p:sp>
      <p:sp>
        <p:nvSpPr>
          <p:cNvPr id="15" name="Picture Placeholder 11">
            <a:extLst>
              <a:ext uri="{FF2B5EF4-FFF2-40B4-BE49-F238E27FC236}">
                <a16:creationId xmlns:a16="http://schemas.microsoft.com/office/drawing/2014/main" id="{980C40B3-D75F-4C27-8F65-9B5C0A68B32D}"/>
              </a:ext>
            </a:extLst>
          </p:cNvPr>
          <p:cNvSpPr>
            <a:spLocks noGrp="1"/>
          </p:cNvSpPr>
          <p:nvPr>
            <p:ph type="pic" sz="quarter" idx="19" hasCustomPrompt="1"/>
          </p:nvPr>
        </p:nvSpPr>
        <p:spPr>
          <a:xfrm>
            <a:off x="4254500" y="1817888"/>
            <a:ext cx="3678237" cy="1233487"/>
          </a:xfrm>
        </p:spPr>
        <p:txBody>
          <a:bodyPr tIns="144000"/>
          <a:lstStyle>
            <a:lvl1pPr marL="0" indent="0" algn="ctr">
              <a:buNone/>
              <a:defRPr/>
            </a:lvl1pPr>
          </a:lstStyle>
          <a:p>
            <a:r>
              <a:rPr lang="en-US"/>
              <a:t>Add icon or image</a:t>
            </a:r>
          </a:p>
        </p:txBody>
      </p:sp>
      <p:sp>
        <p:nvSpPr>
          <p:cNvPr id="16" name="Content Placeholder 2">
            <a:extLst>
              <a:ext uri="{FF2B5EF4-FFF2-40B4-BE49-F238E27FC236}">
                <a16:creationId xmlns:a16="http://schemas.microsoft.com/office/drawing/2014/main" id="{B362638D-6D6F-4355-AD1C-5B82AC48292D}"/>
              </a:ext>
            </a:extLst>
          </p:cNvPr>
          <p:cNvSpPr>
            <a:spLocks noGrp="1"/>
          </p:cNvSpPr>
          <p:nvPr>
            <p:ph idx="20" hasCustomPrompt="1"/>
          </p:nvPr>
        </p:nvSpPr>
        <p:spPr>
          <a:xfrm>
            <a:off x="8147189" y="3463301"/>
            <a:ext cx="3678237" cy="1465783"/>
          </a:xfrm>
        </p:spPr>
        <p:txBody>
          <a:bodyPr/>
          <a:lstStyle>
            <a:lvl1pPr>
              <a:defRPr/>
            </a:lvl1pPr>
          </a:lstStyle>
          <a:p>
            <a:pPr lvl="0"/>
            <a:r>
              <a:rPr lang="en-US"/>
              <a:t>Add text </a:t>
            </a:r>
          </a:p>
          <a:p>
            <a:pPr lvl="1"/>
            <a:r>
              <a:rPr lang="en-US"/>
              <a:t>Second level</a:t>
            </a:r>
          </a:p>
          <a:p>
            <a:pPr lvl="2"/>
            <a:r>
              <a:rPr lang="en-US"/>
              <a:t>Third level</a:t>
            </a:r>
          </a:p>
        </p:txBody>
      </p:sp>
      <p:sp>
        <p:nvSpPr>
          <p:cNvPr id="18" name="Picture Placeholder 11">
            <a:extLst>
              <a:ext uri="{FF2B5EF4-FFF2-40B4-BE49-F238E27FC236}">
                <a16:creationId xmlns:a16="http://schemas.microsoft.com/office/drawing/2014/main" id="{EB21BCFD-8E2F-4F1B-86E7-41F1317ED1EB}"/>
              </a:ext>
            </a:extLst>
          </p:cNvPr>
          <p:cNvSpPr>
            <a:spLocks noGrp="1"/>
          </p:cNvSpPr>
          <p:nvPr>
            <p:ph type="pic" sz="quarter" idx="22" hasCustomPrompt="1"/>
          </p:nvPr>
        </p:nvSpPr>
        <p:spPr>
          <a:xfrm>
            <a:off x="8147913" y="1817888"/>
            <a:ext cx="3678237" cy="1233487"/>
          </a:xfrm>
        </p:spPr>
        <p:txBody>
          <a:bodyPr tIns="144000"/>
          <a:lstStyle>
            <a:lvl1pPr marL="0" indent="0" algn="ctr">
              <a:buNone/>
              <a:defRPr/>
            </a:lvl1pPr>
          </a:lstStyle>
          <a:p>
            <a:r>
              <a:rPr lang="en-US"/>
              <a:t>Add icon or image</a:t>
            </a:r>
          </a:p>
        </p:txBody>
      </p:sp>
      <p:sp>
        <p:nvSpPr>
          <p:cNvPr id="20" name="Text Placeholder 19">
            <a:extLst>
              <a:ext uri="{FF2B5EF4-FFF2-40B4-BE49-F238E27FC236}">
                <a16:creationId xmlns:a16="http://schemas.microsoft.com/office/drawing/2014/main" id="{A74B85C6-BEF9-4ADA-A489-A0B4FF568991}"/>
              </a:ext>
            </a:extLst>
          </p:cNvPr>
          <p:cNvSpPr>
            <a:spLocks noGrp="1"/>
          </p:cNvSpPr>
          <p:nvPr>
            <p:ph type="body" sz="quarter" idx="23" hasCustomPrompt="1"/>
          </p:nvPr>
        </p:nvSpPr>
        <p:spPr>
          <a:xfrm>
            <a:off x="360001" y="5080500"/>
            <a:ext cx="3678237" cy="877888"/>
          </a:xfrm>
        </p:spPr>
        <p:txBody>
          <a:bodyPr/>
          <a:lstStyle>
            <a:lvl1pPr marL="0" indent="0">
              <a:buNone/>
              <a:defRPr sz="7200"/>
            </a:lvl1pPr>
            <a:lvl2pPr marL="0" indent="0">
              <a:buNone/>
              <a:defRPr sz="7200"/>
            </a:lvl2pPr>
            <a:lvl3pPr marL="0" indent="0">
              <a:buNone/>
              <a:defRPr sz="7200"/>
            </a:lvl3pPr>
            <a:lvl4pPr marL="0" indent="0">
              <a:buNone/>
              <a:defRPr sz="7200"/>
            </a:lvl4pPr>
            <a:lvl5pPr marL="0" indent="0">
              <a:buNone/>
              <a:defRPr sz="7200"/>
            </a:lvl5pPr>
          </a:lstStyle>
          <a:p>
            <a:pPr lvl="0"/>
            <a:r>
              <a:rPr lang="en-US"/>
              <a:t>##</a:t>
            </a:r>
          </a:p>
        </p:txBody>
      </p:sp>
      <p:sp>
        <p:nvSpPr>
          <p:cNvPr id="21" name="Text Placeholder 19">
            <a:extLst>
              <a:ext uri="{FF2B5EF4-FFF2-40B4-BE49-F238E27FC236}">
                <a16:creationId xmlns:a16="http://schemas.microsoft.com/office/drawing/2014/main" id="{018407E5-6E6D-4F09-B91C-72513303E8D7}"/>
              </a:ext>
            </a:extLst>
          </p:cNvPr>
          <p:cNvSpPr>
            <a:spLocks noGrp="1"/>
          </p:cNvSpPr>
          <p:nvPr>
            <p:ph type="body" sz="quarter" idx="24" hasCustomPrompt="1"/>
          </p:nvPr>
        </p:nvSpPr>
        <p:spPr>
          <a:xfrm>
            <a:off x="4256000" y="5080500"/>
            <a:ext cx="3678237" cy="877888"/>
          </a:xfrm>
        </p:spPr>
        <p:txBody>
          <a:bodyPr/>
          <a:lstStyle>
            <a:lvl1pPr marL="0" indent="0">
              <a:buNone/>
              <a:defRPr sz="7200"/>
            </a:lvl1pPr>
            <a:lvl2pPr marL="0" indent="0">
              <a:buNone/>
              <a:defRPr sz="7200"/>
            </a:lvl2pPr>
            <a:lvl3pPr marL="0" indent="0">
              <a:buNone/>
              <a:defRPr sz="7200"/>
            </a:lvl3pPr>
            <a:lvl4pPr marL="0" indent="0">
              <a:buNone/>
              <a:defRPr sz="7200"/>
            </a:lvl4pPr>
            <a:lvl5pPr marL="0" indent="0">
              <a:buNone/>
              <a:defRPr sz="7200"/>
            </a:lvl5pPr>
          </a:lstStyle>
          <a:p>
            <a:pPr lvl="0"/>
            <a:r>
              <a:rPr lang="en-US"/>
              <a:t>##</a:t>
            </a:r>
          </a:p>
        </p:txBody>
      </p:sp>
      <p:sp>
        <p:nvSpPr>
          <p:cNvPr id="22" name="Text Placeholder 19">
            <a:extLst>
              <a:ext uri="{FF2B5EF4-FFF2-40B4-BE49-F238E27FC236}">
                <a16:creationId xmlns:a16="http://schemas.microsoft.com/office/drawing/2014/main" id="{2BCB50A8-00F6-4AE3-8876-B966A2F7B526}"/>
              </a:ext>
            </a:extLst>
          </p:cNvPr>
          <p:cNvSpPr>
            <a:spLocks noGrp="1"/>
          </p:cNvSpPr>
          <p:nvPr>
            <p:ph type="body" sz="quarter" idx="25" hasCustomPrompt="1"/>
          </p:nvPr>
        </p:nvSpPr>
        <p:spPr>
          <a:xfrm>
            <a:off x="8152000" y="5080500"/>
            <a:ext cx="3678237" cy="877888"/>
          </a:xfrm>
        </p:spPr>
        <p:txBody>
          <a:bodyPr/>
          <a:lstStyle>
            <a:lvl1pPr marL="0" indent="0">
              <a:buNone/>
              <a:defRPr sz="7200"/>
            </a:lvl1pPr>
            <a:lvl2pPr marL="0" indent="0">
              <a:buNone/>
              <a:defRPr sz="7200"/>
            </a:lvl2pPr>
            <a:lvl3pPr marL="0" indent="0">
              <a:buNone/>
              <a:defRPr sz="7200"/>
            </a:lvl3pPr>
            <a:lvl4pPr marL="0" indent="0">
              <a:buNone/>
              <a:defRPr sz="7200"/>
            </a:lvl4pPr>
            <a:lvl5pPr marL="0" indent="0">
              <a:buNone/>
              <a:defRPr sz="7200"/>
            </a:lvl5pPr>
          </a:lstStyle>
          <a:p>
            <a:pPr lvl="0"/>
            <a:r>
              <a:rPr lang="en-US"/>
              <a:t>##</a:t>
            </a:r>
          </a:p>
        </p:txBody>
      </p:sp>
      <p:sp>
        <p:nvSpPr>
          <p:cNvPr id="19" name="Title 1">
            <a:extLst>
              <a:ext uri="{FF2B5EF4-FFF2-40B4-BE49-F238E27FC236}">
                <a16:creationId xmlns:a16="http://schemas.microsoft.com/office/drawing/2014/main" id="{5AE9A54B-53A1-4875-849F-D52831CDD1FD}"/>
              </a:ext>
            </a:extLst>
          </p:cNvPr>
          <p:cNvSpPr>
            <a:spLocks noGrp="1"/>
          </p:cNvSpPr>
          <p:nvPr>
            <p:ph type="title" hasCustomPrompt="1"/>
          </p:nvPr>
        </p:nvSpPr>
        <p:spPr>
          <a:xfrm>
            <a:off x="360000" y="270001"/>
            <a:ext cx="11471638" cy="468000"/>
          </a:xfrm>
        </p:spPr>
        <p:txBody>
          <a:bodyPr>
            <a:noAutofit/>
          </a:bodyPr>
          <a:lstStyle>
            <a:lvl1pPr>
              <a:defRPr/>
            </a:lvl1pPr>
          </a:lstStyle>
          <a:p>
            <a:r>
              <a:rPr lang="en-US"/>
              <a:t>Add title</a:t>
            </a:r>
          </a:p>
        </p:txBody>
      </p:sp>
      <p:sp>
        <p:nvSpPr>
          <p:cNvPr id="23" name="Text Placeholder 8">
            <a:extLst>
              <a:ext uri="{FF2B5EF4-FFF2-40B4-BE49-F238E27FC236}">
                <a16:creationId xmlns:a16="http://schemas.microsoft.com/office/drawing/2014/main" id="{1627A9DD-9A45-4FE5-86D5-7683C39397EB}"/>
              </a:ext>
            </a:extLst>
          </p:cNvPr>
          <p:cNvSpPr>
            <a:spLocks noGrp="1"/>
          </p:cNvSpPr>
          <p:nvPr>
            <p:ph type="body" sz="quarter" idx="13" hasCustomPrompt="1"/>
          </p:nvPr>
        </p:nvSpPr>
        <p:spPr>
          <a:xfrm>
            <a:off x="359639" y="742950"/>
            <a:ext cx="11471999" cy="468000"/>
          </a:xfrm>
        </p:spPr>
        <p:txBody>
          <a:bodyPr>
            <a:noAutofit/>
          </a:bodyPr>
          <a:lstStyle>
            <a:lvl1pPr marL="0" indent="0">
              <a:buFont typeface="Arial" panose="020B0604020202020204" pitchFamily="34" charset="0"/>
              <a:buNone/>
              <a:tabLst/>
              <a:defRPr sz="3200">
                <a:latin typeface="+mn-lt"/>
              </a:defRPr>
            </a:lvl1pPr>
            <a:lvl2pPr marL="0" indent="0">
              <a:buFont typeface="Arial" panose="020B0604020202020204" pitchFamily="34" charset="0"/>
              <a:buNone/>
              <a:tabLst/>
              <a:defRPr sz="3200">
                <a:latin typeface="+mn-lt"/>
              </a:defRPr>
            </a:lvl2pPr>
            <a:lvl3pPr marL="0" indent="0">
              <a:buFont typeface="Arial" panose="020B0604020202020204" pitchFamily="34" charset="0"/>
              <a:buNone/>
              <a:tabLst/>
              <a:defRPr sz="3200">
                <a:latin typeface="+mn-lt"/>
              </a:defRPr>
            </a:lvl3pPr>
            <a:lvl4pPr marL="0" indent="0">
              <a:buFont typeface="Arial" panose="020B0604020202020204" pitchFamily="34" charset="0"/>
              <a:buNone/>
              <a:tabLst/>
              <a:defRPr sz="3200">
                <a:latin typeface="+mn-lt"/>
              </a:defRPr>
            </a:lvl4pPr>
            <a:lvl5pPr marL="0" indent="0">
              <a:buFont typeface="Arial" panose="020B0604020202020204" pitchFamily="34" charset="0"/>
              <a:buNone/>
              <a:tabLst/>
              <a:defRPr sz="3200">
                <a:latin typeface="+mn-lt"/>
              </a:defRPr>
            </a:lvl5pPr>
          </a:lstStyle>
          <a:p>
            <a:pPr lvl="0"/>
            <a:r>
              <a:rPr lang="en-US"/>
              <a:t>Add subtitle</a:t>
            </a:r>
          </a:p>
        </p:txBody>
      </p:sp>
      <p:cxnSp>
        <p:nvCxnSpPr>
          <p:cNvPr id="24" name="Straight Connector 23">
            <a:extLst>
              <a:ext uri="{FF2B5EF4-FFF2-40B4-BE49-F238E27FC236}">
                <a16:creationId xmlns:a16="http://schemas.microsoft.com/office/drawing/2014/main" id="{AD6C75EF-3540-433C-8334-6F285BDB9FE7}"/>
              </a:ext>
            </a:extLst>
          </p:cNvPr>
          <p:cNvCxnSpPr>
            <a:cxnSpLocks/>
          </p:cNvCxnSpPr>
          <p:nvPr userDrawn="1"/>
        </p:nvCxnSpPr>
        <p:spPr>
          <a:xfrm>
            <a:off x="358775" y="3256236"/>
            <a:ext cx="3679825"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F79CD8C9-909F-491D-9740-1993F522A2AE}"/>
              </a:ext>
            </a:extLst>
          </p:cNvPr>
          <p:cNvCxnSpPr>
            <a:cxnSpLocks/>
          </p:cNvCxnSpPr>
          <p:nvPr userDrawn="1"/>
        </p:nvCxnSpPr>
        <p:spPr>
          <a:xfrm>
            <a:off x="8147189" y="3256236"/>
            <a:ext cx="368634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FF514217-1803-4DAB-AA3A-C7CEC59F6FB2}"/>
              </a:ext>
            </a:extLst>
          </p:cNvPr>
          <p:cNvCxnSpPr>
            <a:cxnSpLocks/>
          </p:cNvCxnSpPr>
          <p:nvPr userDrawn="1"/>
        </p:nvCxnSpPr>
        <p:spPr>
          <a:xfrm>
            <a:off x="4256088" y="3256236"/>
            <a:ext cx="3679825"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52648479"/>
      </p:ext>
    </p:extLst>
  </p:cSld>
  <p:clrMapOvr>
    <a:masterClrMapping/>
  </p:clrMapOvr>
  <p:extLst>
    <p:ext uri="{DCECCB84-F9BA-43D5-87BE-67443E8EF086}">
      <p15:sldGuideLst xmlns:p15="http://schemas.microsoft.com/office/powerpoint/2012/main">
        <p15:guide id="1" orient="horz" pos="170" userDrawn="1">
          <p15:clr>
            <a:srgbClr val="717275"/>
          </p15:clr>
        </p15:guide>
        <p15:guide id="2" orient="horz" pos="762" userDrawn="1">
          <p15:clr>
            <a:srgbClr val="717275"/>
          </p15:clr>
        </p15:guide>
        <p15:guide id="3" orient="horz" pos="1133" userDrawn="1">
          <p15:clr>
            <a:srgbClr val="FF96FF"/>
          </p15:clr>
        </p15:guide>
        <p15:guide id="4" orient="horz" pos="3753" userDrawn="1">
          <p15:clr>
            <a:srgbClr val="FF96FF"/>
          </p15:clr>
        </p15:guide>
        <p15:guide id="5" pos="226" userDrawn="1">
          <p15:clr>
            <a:srgbClr val="FF96FF"/>
          </p15:clr>
        </p15:guide>
        <p15:guide id="6" pos="2544" userDrawn="1">
          <p15:clr>
            <a:srgbClr val="FF96FF"/>
          </p15:clr>
        </p15:guide>
        <p15:guide id="7" pos="2680" userDrawn="1">
          <p15:clr>
            <a:srgbClr val="FF96FF"/>
          </p15:clr>
        </p15:guide>
        <p15:guide id="8" pos="4999" userDrawn="1">
          <p15:clr>
            <a:srgbClr val="FF96FF"/>
          </p15:clr>
        </p15:guide>
        <p15:guide id="9" pos="5135" userDrawn="1">
          <p15:clr>
            <a:srgbClr val="FF96FF"/>
          </p15:clr>
        </p15:guide>
        <p15:guide id="10" pos="7453" userDrawn="1">
          <p15:clr>
            <a:srgbClr val="FF96FF"/>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Four Points">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AEF37376-B2FD-48AB-B025-33847E15CB3B}"/>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367FE9DC-36B2-4EF6-81B3-FF56730EE19A}"/>
              </a:ext>
            </a:extLst>
          </p:cNvPr>
          <p:cNvSpPr>
            <a:spLocks noGrp="1"/>
          </p:cNvSpPr>
          <p:nvPr>
            <p:ph type="sldNum" sz="quarter" idx="12"/>
          </p:nvPr>
        </p:nvSpPr>
        <p:spPr/>
        <p:txBody>
          <a:bodyPr/>
          <a:lstStyle/>
          <a:p>
            <a:fld id="{9E2BE927-25C7-4379-86F1-C17ED9D2A7F2}" type="slidenum">
              <a:rPr lang="en-US" smtClean="0"/>
              <a:pPr/>
              <a:t>‹#›</a:t>
            </a:fld>
            <a:endParaRPr lang="en-US"/>
          </a:p>
        </p:txBody>
      </p:sp>
      <p:sp>
        <p:nvSpPr>
          <p:cNvPr id="6" name="Guides" hidden="1">
            <a:extLst>
              <a:ext uri="{FF2B5EF4-FFF2-40B4-BE49-F238E27FC236}">
                <a16:creationId xmlns:a16="http://schemas.microsoft.com/office/drawing/2014/main" id="{43519EE6-2DD5-48FE-8028-EC40E46E618D}"/>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7" name="Text Placeholder 6">
            <a:extLst>
              <a:ext uri="{FF2B5EF4-FFF2-40B4-BE49-F238E27FC236}">
                <a16:creationId xmlns:a16="http://schemas.microsoft.com/office/drawing/2014/main" id="{E5B0AE5F-0AD7-45BF-A186-F70AD8B57411}"/>
              </a:ext>
            </a:extLst>
          </p:cNvPr>
          <p:cNvSpPr>
            <a:spLocks noGrp="1"/>
          </p:cNvSpPr>
          <p:nvPr>
            <p:ph type="body" sz="quarter" idx="13" hasCustomPrompt="1"/>
          </p:nvPr>
        </p:nvSpPr>
        <p:spPr>
          <a:xfrm>
            <a:off x="358775" y="1798638"/>
            <a:ext cx="2706000" cy="1230312"/>
          </a:xfrm>
        </p:spPr>
        <p:txBody>
          <a:bodyPr/>
          <a:lstStyle>
            <a:lvl1pPr marL="0" indent="0">
              <a:buNone/>
              <a:defRPr sz="9600">
                <a:latin typeface="+mj-lt"/>
              </a:defRPr>
            </a:lvl1pPr>
            <a:lvl2pPr marL="0" indent="0">
              <a:buNone/>
              <a:defRPr sz="9600">
                <a:latin typeface="+mj-lt"/>
              </a:defRPr>
            </a:lvl2pPr>
            <a:lvl3pPr marL="0" indent="0">
              <a:buNone/>
              <a:defRPr sz="9600">
                <a:latin typeface="+mj-lt"/>
              </a:defRPr>
            </a:lvl3pPr>
            <a:lvl4pPr marL="0" indent="0">
              <a:buNone/>
              <a:defRPr sz="9600">
                <a:latin typeface="+mj-lt"/>
              </a:defRPr>
            </a:lvl4pPr>
            <a:lvl5pPr marL="0" indent="0">
              <a:buNone/>
              <a:defRPr sz="9600">
                <a:latin typeface="+mj-lt"/>
              </a:defRPr>
            </a:lvl5pPr>
          </a:lstStyle>
          <a:p>
            <a:pPr lvl="0"/>
            <a:r>
              <a:rPr lang="en-US"/>
              <a:t>#</a:t>
            </a:r>
          </a:p>
        </p:txBody>
      </p:sp>
      <p:sp>
        <p:nvSpPr>
          <p:cNvPr id="29" name="Text Placeholder 6">
            <a:extLst>
              <a:ext uri="{FF2B5EF4-FFF2-40B4-BE49-F238E27FC236}">
                <a16:creationId xmlns:a16="http://schemas.microsoft.com/office/drawing/2014/main" id="{B0522132-8E3B-49B8-A485-CEE1F2CAFD4D}"/>
              </a:ext>
            </a:extLst>
          </p:cNvPr>
          <p:cNvSpPr>
            <a:spLocks noGrp="1"/>
          </p:cNvSpPr>
          <p:nvPr>
            <p:ph type="body" sz="quarter" idx="14" hasCustomPrompt="1"/>
          </p:nvPr>
        </p:nvSpPr>
        <p:spPr>
          <a:xfrm>
            <a:off x="3281363" y="1798638"/>
            <a:ext cx="2706000" cy="1230312"/>
          </a:xfrm>
        </p:spPr>
        <p:txBody>
          <a:bodyPr/>
          <a:lstStyle>
            <a:lvl1pPr marL="0" indent="0">
              <a:buNone/>
              <a:defRPr sz="9600">
                <a:latin typeface="+mj-lt"/>
              </a:defRPr>
            </a:lvl1pPr>
            <a:lvl2pPr marL="0" indent="0">
              <a:buNone/>
              <a:defRPr sz="9600">
                <a:latin typeface="+mj-lt"/>
              </a:defRPr>
            </a:lvl2pPr>
            <a:lvl3pPr marL="0" indent="0">
              <a:buNone/>
              <a:defRPr sz="9600">
                <a:latin typeface="+mj-lt"/>
              </a:defRPr>
            </a:lvl3pPr>
            <a:lvl4pPr marL="0" indent="0">
              <a:buNone/>
              <a:defRPr sz="9600">
                <a:latin typeface="+mj-lt"/>
              </a:defRPr>
            </a:lvl4pPr>
            <a:lvl5pPr marL="0" indent="0">
              <a:buNone/>
              <a:defRPr sz="9600">
                <a:latin typeface="+mj-lt"/>
              </a:defRPr>
            </a:lvl5pPr>
          </a:lstStyle>
          <a:p>
            <a:pPr lvl="0"/>
            <a:r>
              <a:rPr lang="en-US"/>
              <a:t>#</a:t>
            </a:r>
          </a:p>
        </p:txBody>
      </p:sp>
      <p:sp>
        <p:nvSpPr>
          <p:cNvPr id="30" name="Text Placeholder 6">
            <a:extLst>
              <a:ext uri="{FF2B5EF4-FFF2-40B4-BE49-F238E27FC236}">
                <a16:creationId xmlns:a16="http://schemas.microsoft.com/office/drawing/2014/main" id="{1FD453A3-DDDB-4208-BE70-083FE24E99E6}"/>
              </a:ext>
            </a:extLst>
          </p:cNvPr>
          <p:cNvSpPr>
            <a:spLocks noGrp="1"/>
          </p:cNvSpPr>
          <p:nvPr>
            <p:ph type="body" sz="quarter" idx="15" hasCustomPrompt="1"/>
          </p:nvPr>
        </p:nvSpPr>
        <p:spPr>
          <a:xfrm>
            <a:off x="6203951" y="1798638"/>
            <a:ext cx="2706000" cy="1230312"/>
          </a:xfrm>
        </p:spPr>
        <p:txBody>
          <a:bodyPr/>
          <a:lstStyle>
            <a:lvl1pPr marL="0" indent="0">
              <a:buNone/>
              <a:defRPr sz="9600">
                <a:latin typeface="+mj-lt"/>
              </a:defRPr>
            </a:lvl1pPr>
            <a:lvl2pPr marL="0" indent="0">
              <a:buNone/>
              <a:defRPr sz="9600">
                <a:latin typeface="+mj-lt"/>
              </a:defRPr>
            </a:lvl2pPr>
            <a:lvl3pPr marL="0" indent="0">
              <a:buNone/>
              <a:defRPr sz="9600">
                <a:latin typeface="+mj-lt"/>
              </a:defRPr>
            </a:lvl3pPr>
            <a:lvl4pPr marL="0" indent="0">
              <a:buNone/>
              <a:defRPr sz="9600">
                <a:latin typeface="+mj-lt"/>
              </a:defRPr>
            </a:lvl4pPr>
            <a:lvl5pPr marL="0" indent="0">
              <a:buNone/>
              <a:defRPr sz="9600">
                <a:latin typeface="+mj-lt"/>
              </a:defRPr>
            </a:lvl5pPr>
          </a:lstStyle>
          <a:p>
            <a:pPr lvl="0"/>
            <a:r>
              <a:rPr lang="en-US"/>
              <a:t>#</a:t>
            </a:r>
          </a:p>
        </p:txBody>
      </p:sp>
      <p:sp>
        <p:nvSpPr>
          <p:cNvPr id="31" name="Text Placeholder 6">
            <a:extLst>
              <a:ext uri="{FF2B5EF4-FFF2-40B4-BE49-F238E27FC236}">
                <a16:creationId xmlns:a16="http://schemas.microsoft.com/office/drawing/2014/main" id="{ABB11E91-3DE4-48AE-B64C-741B09D47C98}"/>
              </a:ext>
            </a:extLst>
          </p:cNvPr>
          <p:cNvSpPr>
            <a:spLocks noGrp="1"/>
          </p:cNvSpPr>
          <p:nvPr>
            <p:ph type="body" sz="quarter" idx="16" hasCustomPrompt="1"/>
          </p:nvPr>
        </p:nvSpPr>
        <p:spPr>
          <a:xfrm>
            <a:off x="9126539" y="1797051"/>
            <a:ext cx="2706000" cy="1230312"/>
          </a:xfrm>
        </p:spPr>
        <p:txBody>
          <a:bodyPr/>
          <a:lstStyle>
            <a:lvl1pPr marL="0" indent="0">
              <a:buNone/>
              <a:defRPr sz="9600">
                <a:latin typeface="+mj-lt"/>
              </a:defRPr>
            </a:lvl1pPr>
            <a:lvl2pPr marL="0" indent="0">
              <a:buNone/>
              <a:defRPr sz="9600">
                <a:latin typeface="+mj-lt"/>
              </a:defRPr>
            </a:lvl2pPr>
            <a:lvl3pPr marL="0" indent="0">
              <a:buNone/>
              <a:defRPr sz="9600">
                <a:latin typeface="+mj-lt"/>
              </a:defRPr>
            </a:lvl3pPr>
            <a:lvl4pPr marL="0" indent="0">
              <a:buNone/>
              <a:defRPr sz="9600">
                <a:latin typeface="+mj-lt"/>
              </a:defRPr>
            </a:lvl4pPr>
            <a:lvl5pPr marL="0" indent="0">
              <a:buNone/>
              <a:defRPr sz="9600">
                <a:latin typeface="+mj-lt"/>
              </a:defRPr>
            </a:lvl5pPr>
          </a:lstStyle>
          <a:p>
            <a:pPr lvl="0"/>
            <a:r>
              <a:rPr lang="en-US"/>
              <a:t>#</a:t>
            </a:r>
          </a:p>
        </p:txBody>
      </p:sp>
      <p:sp>
        <p:nvSpPr>
          <p:cNvPr id="33" name="Content Placeholder 32">
            <a:extLst>
              <a:ext uri="{FF2B5EF4-FFF2-40B4-BE49-F238E27FC236}">
                <a16:creationId xmlns:a16="http://schemas.microsoft.com/office/drawing/2014/main" id="{50962EFB-4349-46BD-8CA6-22D2BD2A65A8}"/>
              </a:ext>
            </a:extLst>
          </p:cNvPr>
          <p:cNvSpPr>
            <a:spLocks noGrp="1"/>
          </p:cNvSpPr>
          <p:nvPr>
            <p:ph sz="quarter" idx="17" hasCustomPrompt="1"/>
          </p:nvPr>
        </p:nvSpPr>
        <p:spPr>
          <a:xfrm>
            <a:off x="358775" y="3027363"/>
            <a:ext cx="2706688" cy="2930525"/>
          </a:xfrm>
        </p:spPr>
        <p:txBody>
          <a:bodyPr/>
          <a:lstStyle>
            <a:lvl1pPr>
              <a:defRPr/>
            </a:lvl1pPr>
          </a:lstStyle>
          <a:p>
            <a:pPr lvl="0"/>
            <a:r>
              <a:rPr lang="en-US"/>
              <a:t>Add text </a:t>
            </a:r>
          </a:p>
          <a:p>
            <a:pPr lvl="1"/>
            <a:r>
              <a:rPr lang="en-US"/>
              <a:t>Second level</a:t>
            </a:r>
          </a:p>
          <a:p>
            <a:pPr lvl="2"/>
            <a:r>
              <a:rPr lang="en-US"/>
              <a:t>Third level</a:t>
            </a:r>
          </a:p>
          <a:p>
            <a:pPr lvl="3"/>
            <a:r>
              <a:rPr lang="en-US"/>
              <a:t>Fourth level</a:t>
            </a:r>
          </a:p>
          <a:p>
            <a:pPr lvl="4"/>
            <a:r>
              <a:rPr lang="en-US"/>
              <a:t>Fifth level</a:t>
            </a:r>
          </a:p>
        </p:txBody>
      </p:sp>
      <p:sp>
        <p:nvSpPr>
          <p:cNvPr id="34" name="Content Placeholder 32">
            <a:extLst>
              <a:ext uri="{FF2B5EF4-FFF2-40B4-BE49-F238E27FC236}">
                <a16:creationId xmlns:a16="http://schemas.microsoft.com/office/drawing/2014/main" id="{62D66E2E-2FE0-4D07-8B76-1EE08A9199AD}"/>
              </a:ext>
            </a:extLst>
          </p:cNvPr>
          <p:cNvSpPr>
            <a:spLocks noGrp="1"/>
          </p:cNvSpPr>
          <p:nvPr>
            <p:ph sz="quarter" idx="18" hasCustomPrompt="1"/>
          </p:nvPr>
        </p:nvSpPr>
        <p:spPr>
          <a:xfrm>
            <a:off x="3281363" y="3027362"/>
            <a:ext cx="2706688" cy="2930525"/>
          </a:xfrm>
        </p:spPr>
        <p:txBody>
          <a:bodyPr/>
          <a:lstStyle>
            <a:lvl1pPr>
              <a:defRPr/>
            </a:lvl1pPr>
          </a:lstStyle>
          <a:p>
            <a:pPr lvl="0"/>
            <a:r>
              <a:rPr lang="en-US"/>
              <a:t>Add text </a:t>
            </a:r>
          </a:p>
          <a:p>
            <a:pPr lvl="1"/>
            <a:r>
              <a:rPr lang="en-US"/>
              <a:t>Second level</a:t>
            </a:r>
          </a:p>
          <a:p>
            <a:pPr lvl="2"/>
            <a:r>
              <a:rPr lang="en-US"/>
              <a:t>Third level</a:t>
            </a:r>
          </a:p>
          <a:p>
            <a:pPr lvl="3"/>
            <a:r>
              <a:rPr lang="en-US"/>
              <a:t>Fourth level</a:t>
            </a:r>
          </a:p>
          <a:p>
            <a:pPr lvl="4"/>
            <a:r>
              <a:rPr lang="en-US"/>
              <a:t>Fifth level</a:t>
            </a:r>
          </a:p>
        </p:txBody>
      </p:sp>
      <p:sp>
        <p:nvSpPr>
          <p:cNvPr id="35" name="Content Placeholder 32">
            <a:extLst>
              <a:ext uri="{FF2B5EF4-FFF2-40B4-BE49-F238E27FC236}">
                <a16:creationId xmlns:a16="http://schemas.microsoft.com/office/drawing/2014/main" id="{47115789-4D0A-4CCE-8671-6273B0381B01}"/>
              </a:ext>
            </a:extLst>
          </p:cNvPr>
          <p:cNvSpPr>
            <a:spLocks noGrp="1"/>
          </p:cNvSpPr>
          <p:nvPr>
            <p:ph sz="quarter" idx="19" hasCustomPrompt="1"/>
          </p:nvPr>
        </p:nvSpPr>
        <p:spPr>
          <a:xfrm>
            <a:off x="6203950" y="3027363"/>
            <a:ext cx="2706688" cy="2930525"/>
          </a:xfrm>
        </p:spPr>
        <p:txBody>
          <a:bodyPr/>
          <a:lstStyle>
            <a:lvl1pPr>
              <a:defRPr/>
            </a:lvl1pPr>
          </a:lstStyle>
          <a:p>
            <a:pPr lvl="0"/>
            <a:r>
              <a:rPr lang="en-US"/>
              <a:t>Add text</a:t>
            </a:r>
          </a:p>
          <a:p>
            <a:pPr lvl="1"/>
            <a:r>
              <a:rPr lang="en-US"/>
              <a:t>Second level</a:t>
            </a:r>
          </a:p>
          <a:p>
            <a:pPr lvl="2"/>
            <a:r>
              <a:rPr lang="en-US"/>
              <a:t>Third level</a:t>
            </a:r>
          </a:p>
          <a:p>
            <a:pPr lvl="3"/>
            <a:r>
              <a:rPr lang="en-US"/>
              <a:t>Fourth level</a:t>
            </a:r>
          </a:p>
          <a:p>
            <a:pPr lvl="4"/>
            <a:r>
              <a:rPr lang="en-US"/>
              <a:t>Fifth level</a:t>
            </a:r>
          </a:p>
        </p:txBody>
      </p:sp>
      <p:sp>
        <p:nvSpPr>
          <p:cNvPr id="36" name="Content Placeholder 32">
            <a:extLst>
              <a:ext uri="{FF2B5EF4-FFF2-40B4-BE49-F238E27FC236}">
                <a16:creationId xmlns:a16="http://schemas.microsoft.com/office/drawing/2014/main" id="{79F26C1F-5758-4A52-A55F-85316A7B4CD2}"/>
              </a:ext>
            </a:extLst>
          </p:cNvPr>
          <p:cNvSpPr>
            <a:spLocks noGrp="1"/>
          </p:cNvSpPr>
          <p:nvPr>
            <p:ph sz="quarter" idx="20" hasCustomPrompt="1"/>
          </p:nvPr>
        </p:nvSpPr>
        <p:spPr>
          <a:xfrm>
            <a:off x="9124950" y="3027361"/>
            <a:ext cx="2706688" cy="2930525"/>
          </a:xfrm>
        </p:spPr>
        <p:txBody>
          <a:bodyPr/>
          <a:lstStyle>
            <a:lvl1pPr>
              <a:defRPr/>
            </a:lvl1pPr>
          </a:lstStyle>
          <a:p>
            <a:pPr lvl="0"/>
            <a:r>
              <a:rPr lang="en-US"/>
              <a:t>Add text </a:t>
            </a:r>
          </a:p>
          <a:p>
            <a:pPr lvl="1"/>
            <a:r>
              <a:rPr lang="en-US"/>
              <a:t>Second level</a:t>
            </a:r>
          </a:p>
          <a:p>
            <a:pPr lvl="2"/>
            <a:r>
              <a:rPr lang="en-US"/>
              <a:t>Third level</a:t>
            </a:r>
          </a:p>
          <a:p>
            <a:pPr lvl="3"/>
            <a:r>
              <a:rPr lang="en-US"/>
              <a:t>Fourth level</a:t>
            </a:r>
          </a:p>
          <a:p>
            <a:pPr lvl="4"/>
            <a:r>
              <a:rPr lang="en-US"/>
              <a:t>Fifth level</a:t>
            </a:r>
          </a:p>
        </p:txBody>
      </p:sp>
      <p:sp>
        <p:nvSpPr>
          <p:cNvPr id="17" name="Title 1">
            <a:extLst>
              <a:ext uri="{FF2B5EF4-FFF2-40B4-BE49-F238E27FC236}">
                <a16:creationId xmlns:a16="http://schemas.microsoft.com/office/drawing/2014/main" id="{A04D6D7E-5B6A-4D30-807B-84F2D80F27DE}"/>
              </a:ext>
            </a:extLst>
          </p:cNvPr>
          <p:cNvSpPr>
            <a:spLocks noGrp="1"/>
          </p:cNvSpPr>
          <p:nvPr>
            <p:ph type="title" hasCustomPrompt="1"/>
          </p:nvPr>
        </p:nvSpPr>
        <p:spPr>
          <a:xfrm>
            <a:off x="360000" y="270001"/>
            <a:ext cx="11471638" cy="468000"/>
          </a:xfrm>
        </p:spPr>
        <p:txBody>
          <a:bodyPr>
            <a:noAutofit/>
          </a:bodyPr>
          <a:lstStyle>
            <a:lvl1pPr>
              <a:defRPr/>
            </a:lvl1pPr>
          </a:lstStyle>
          <a:p>
            <a:r>
              <a:rPr lang="en-US"/>
              <a:t>Add title</a:t>
            </a:r>
          </a:p>
        </p:txBody>
      </p:sp>
      <p:sp>
        <p:nvSpPr>
          <p:cNvPr id="18" name="Text Placeholder 8">
            <a:extLst>
              <a:ext uri="{FF2B5EF4-FFF2-40B4-BE49-F238E27FC236}">
                <a16:creationId xmlns:a16="http://schemas.microsoft.com/office/drawing/2014/main" id="{825E8E79-5239-4CEE-ADD6-D4B6F35018BC}"/>
              </a:ext>
            </a:extLst>
          </p:cNvPr>
          <p:cNvSpPr>
            <a:spLocks noGrp="1"/>
          </p:cNvSpPr>
          <p:nvPr>
            <p:ph type="body" sz="quarter" idx="24" hasCustomPrompt="1"/>
          </p:nvPr>
        </p:nvSpPr>
        <p:spPr>
          <a:xfrm>
            <a:off x="359639" y="742950"/>
            <a:ext cx="11471999" cy="468000"/>
          </a:xfrm>
        </p:spPr>
        <p:txBody>
          <a:bodyPr>
            <a:noAutofit/>
          </a:bodyPr>
          <a:lstStyle>
            <a:lvl1pPr marL="0" indent="0">
              <a:buFont typeface="Arial" panose="020B0604020202020204" pitchFamily="34" charset="0"/>
              <a:buNone/>
              <a:tabLst/>
              <a:defRPr sz="3200">
                <a:latin typeface="+mn-lt"/>
              </a:defRPr>
            </a:lvl1pPr>
            <a:lvl2pPr marL="0" indent="0">
              <a:buFont typeface="Arial" panose="020B0604020202020204" pitchFamily="34" charset="0"/>
              <a:buNone/>
              <a:tabLst/>
              <a:defRPr sz="3200">
                <a:latin typeface="+mn-lt"/>
              </a:defRPr>
            </a:lvl2pPr>
            <a:lvl3pPr marL="0" indent="0">
              <a:buFont typeface="Arial" panose="020B0604020202020204" pitchFamily="34" charset="0"/>
              <a:buNone/>
              <a:tabLst/>
              <a:defRPr sz="3200">
                <a:latin typeface="+mn-lt"/>
              </a:defRPr>
            </a:lvl3pPr>
            <a:lvl4pPr marL="0" indent="0">
              <a:buFont typeface="Arial" panose="020B0604020202020204" pitchFamily="34" charset="0"/>
              <a:buNone/>
              <a:tabLst/>
              <a:defRPr sz="3200">
                <a:latin typeface="+mn-lt"/>
              </a:defRPr>
            </a:lvl4pPr>
            <a:lvl5pPr marL="0" indent="0">
              <a:buFont typeface="Arial" panose="020B0604020202020204" pitchFamily="34" charset="0"/>
              <a:buNone/>
              <a:tabLst/>
              <a:defRPr sz="3200">
                <a:latin typeface="+mn-lt"/>
              </a:defRPr>
            </a:lvl5pPr>
          </a:lstStyle>
          <a:p>
            <a:pPr lvl="0"/>
            <a:r>
              <a:rPr lang="en-US"/>
              <a:t>Add subtitle</a:t>
            </a:r>
          </a:p>
        </p:txBody>
      </p:sp>
      <p:cxnSp>
        <p:nvCxnSpPr>
          <p:cNvPr id="25" name="Straight Connector 24">
            <a:extLst>
              <a:ext uri="{FF2B5EF4-FFF2-40B4-BE49-F238E27FC236}">
                <a16:creationId xmlns:a16="http://schemas.microsoft.com/office/drawing/2014/main" id="{629706EB-0973-44F7-B89F-839FA7D5AD2A}"/>
              </a:ext>
            </a:extLst>
          </p:cNvPr>
          <p:cNvCxnSpPr/>
          <p:nvPr userDrawn="1"/>
        </p:nvCxnSpPr>
        <p:spPr>
          <a:xfrm>
            <a:off x="3176269" y="1798638"/>
            <a:ext cx="0" cy="415925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9DCC7303-2429-4E29-8CDE-1D1807376E92}"/>
              </a:ext>
            </a:extLst>
          </p:cNvPr>
          <p:cNvCxnSpPr/>
          <p:nvPr userDrawn="1"/>
        </p:nvCxnSpPr>
        <p:spPr>
          <a:xfrm>
            <a:off x="6090557" y="1798638"/>
            <a:ext cx="0" cy="415925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5D030F71-7192-4E9A-B664-DDFE7CBE7BA3}"/>
              </a:ext>
            </a:extLst>
          </p:cNvPr>
          <p:cNvCxnSpPr/>
          <p:nvPr userDrawn="1"/>
        </p:nvCxnSpPr>
        <p:spPr>
          <a:xfrm>
            <a:off x="9024257" y="1798638"/>
            <a:ext cx="0" cy="415925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03989640"/>
      </p:ext>
    </p:extLst>
  </p:cSld>
  <p:clrMapOvr>
    <a:masterClrMapping/>
  </p:clrMapOvr>
  <p:extLst>
    <p:ext uri="{DCECCB84-F9BA-43D5-87BE-67443E8EF086}">
      <p15:sldGuideLst xmlns:p15="http://schemas.microsoft.com/office/powerpoint/2012/main">
        <p15:guide id="1" orient="horz" pos="170" userDrawn="1">
          <p15:clr>
            <a:srgbClr val="717275"/>
          </p15:clr>
        </p15:guide>
        <p15:guide id="2" orient="horz" pos="762" userDrawn="1">
          <p15:clr>
            <a:srgbClr val="717275"/>
          </p15:clr>
        </p15:guide>
        <p15:guide id="3" orient="horz" pos="1133" userDrawn="1">
          <p15:clr>
            <a:srgbClr val="FF96FF"/>
          </p15:clr>
        </p15:guide>
        <p15:guide id="4" orient="horz" pos="3753" userDrawn="1">
          <p15:clr>
            <a:srgbClr val="FF96FF"/>
          </p15:clr>
        </p15:guide>
        <p15:guide id="5" pos="226" userDrawn="1">
          <p15:clr>
            <a:srgbClr val="FF96FF"/>
          </p15:clr>
        </p15:guide>
        <p15:guide id="6" pos="1931" userDrawn="1">
          <p15:clr>
            <a:srgbClr val="FF96FF"/>
          </p15:clr>
        </p15:guide>
        <p15:guide id="7" pos="2067" userDrawn="1">
          <p15:clr>
            <a:srgbClr val="FF96FF"/>
          </p15:clr>
        </p15:guide>
        <p15:guide id="8" pos="3771" userDrawn="1">
          <p15:clr>
            <a:srgbClr val="FF96FF"/>
          </p15:clr>
        </p15:guide>
        <p15:guide id="9" pos="3908" userDrawn="1">
          <p15:clr>
            <a:srgbClr val="FF96FF"/>
          </p15:clr>
        </p15:guide>
        <p15:guide id="10" pos="5612" userDrawn="1">
          <p15:clr>
            <a:srgbClr val="FF96FF"/>
          </p15:clr>
        </p15:guide>
        <p15:guide id="11" pos="5748" userDrawn="1">
          <p15:clr>
            <a:srgbClr val="FF96FF"/>
          </p15:clr>
        </p15:guide>
        <p15:guide id="12" pos="7453" userDrawn="1">
          <p15:clr>
            <a:srgbClr val="FF96FF"/>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Content and Pictur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20EB4D-FDD6-4013-AD88-C01CFF8DE68E}"/>
              </a:ext>
            </a:extLst>
          </p:cNvPr>
          <p:cNvSpPr>
            <a:spLocks noGrp="1"/>
          </p:cNvSpPr>
          <p:nvPr>
            <p:ph type="title" hasCustomPrompt="1"/>
          </p:nvPr>
        </p:nvSpPr>
        <p:spPr>
          <a:xfrm>
            <a:off x="360000" y="270001"/>
            <a:ext cx="5626463" cy="939674"/>
          </a:xfrm>
        </p:spPr>
        <p:txBody>
          <a:bodyPr/>
          <a:lstStyle>
            <a:lvl1pPr>
              <a:defRPr/>
            </a:lvl1pPr>
          </a:lstStyle>
          <a:p>
            <a:r>
              <a:rPr lang="en-US"/>
              <a:t>Add title</a:t>
            </a:r>
          </a:p>
        </p:txBody>
      </p:sp>
      <p:sp>
        <p:nvSpPr>
          <p:cNvPr id="6" name="Slide Number Placeholder 5">
            <a:extLst>
              <a:ext uri="{FF2B5EF4-FFF2-40B4-BE49-F238E27FC236}">
                <a16:creationId xmlns:a16="http://schemas.microsoft.com/office/drawing/2014/main" id="{B94182E6-4E4D-4619-8935-1EE0C5AA0FFB}"/>
              </a:ext>
            </a:extLst>
          </p:cNvPr>
          <p:cNvSpPr>
            <a:spLocks noGrp="1"/>
          </p:cNvSpPr>
          <p:nvPr>
            <p:ph type="sldNum" sz="quarter" idx="12"/>
          </p:nvPr>
        </p:nvSpPr>
        <p:spPr/>
        <p:txBody>
          <a:bodyPr/>
          <a:lstStyle/>
          <a:p>
            <a:fld id="{9E2BE927-25C7-4379-86F1-C17ED9D2A7F2}" type="slidenum">
              <a:rPr lang="en-US" smtClean="0"/>
              <a:t>‹#›</a:t>
            </a:fld>
            <a:endParaRPr lang="en-US"/>
          </a:p>
        </p:txBody>
      </p:sp>
      <p:sp>
        <p:nvSpPr>
          <p:cNvPr id="7" name="Guides" hidden="1">
            <a:extLst>
              <a:ext uri="{FF2B5EF4-FFF2-40B4-BE49-F238E27FC236}">
                <a16:creationId xmlns:a16="http://schemas.microsoft.com/office/drawing/2014/main" id="{BB27FE75-A2B8-4B3A-85AA-B08EC1555E5F}"/>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12" name="Picture Placeholder 11">
            <a:extLst>
              <a:ext uri="{FF2B5EF4-FFF2-40B4-BE49-F238E27FC236}">
                <a16:creationId xmlns:a16="http://schemas.microsoft.com/office/drawing/2014/main" id="{81A47700-3237-48CD-894B-F3605A035289}"/>
              </a:ext>
            </a:extLst>
          </p:cNvPr>
          <p:cNvSpPr>
            <a:spLocks noGrp="1"/>
          </p:cNvSpPr>
          <p:nvPr>
            <p:ph type="pic" sz="quarter" idx="15" hasCustomPrompt="1"/>
          </p:nvPr>
        </p:nvSpPr>
        <p:spPr>
          <a:xfrm>
            <a:off x="6203950" y="0"/>
            <a:ext cx="5988050" cy="6858000"/>
          </a:xfrm>
        </p:spPr>
        <p:txBody>
          <a:bodyPr tIns="144000"/>
          <a:lstStyle>
            <a:lvl1pPr marL="0" indent="0" algn="ctr">
              <a:buFontTx/>
              <a:buNone/>
              <a:defRPr/>
            </a:lvl1pPr>
          </a:lstStyle>
          <a:p>
            <a:r>
              <a:rPr lang="en-US"/>
              <a:t>Add image</a:t>
            </a:r>
          </a:p>
        </p:txBody>
      </p:sp>
      <p:sp>
        <p:nvSpPr>
          <p:cNvPr id="4" name="Content Placeholder 3">
            <a:extLst>
              <a:ext uri="{FF2B5EF4-FFF2-40B4-BE49-F238E27FC236}">
                <a16:creationId xmlns:a16="http://schemas.microsoft.com/office/drawing/2014/main" id="{5B28B228-E5B9-4DB5-A4AC-57DC32B1D1AF}"/>
              </a:ext>
            </a:extLst>
          </p:cNvPr>
          <p:cNvSpPr>
            <a:spLocks noGrp="1"/>
          </p:cNvSpPr>
          <p:nvPr>
            <p:ph sz="quarter" idx="16" hasCustomPrompt="1"/>
          </p:nvPr>
        </p:nvSpPr>
        <p:spPr>
          <a:xfrm>
            <a:off x="358464" y="1947863"/>
            <a:ext cx="5627999" cy="4010025"/>
          </a:xfrm>
        </p:spPr>
        <p:txBody>
          <a:bodyPr/>
          <a:lstStyle>
            <a:lvl1pPr>
              <a:defRPr/>
            </a:lvl1pPr>
          </a:lstStyle>
          <a:p>
            <a:pPr lvl="0"/>
            <a:r>
              <a:rPr lang="en-US"/>
              <a:t>Add text</a:t>
            </a:r>
          </a:p>
          <a:p>
            <a:pPr lvl="1"/>
            <a:r>
              <a:rPr lang="en-US"/>
              <a:t>Second level</a:t>
            </a:r>
          </a:p>
          <a:p>
            <a:pPr lvl="2"/>
            <a:r>
              <a:rPr lang="en-US"/>
              <a:t>Third level</a:t>
            </a:r>
          </a:p>
          <a:p>
            <a:pPr lvl="3"/>
            <a:r>
              <a:rPr lang="en-US"/>
              <a:t>Fourth level</a:t>
            </a:r>
          </a:p>
          <a:p>
            <a:pPr lvl="4"/>
            <a:r>
              <a:rPr lang="en-US"/>
              <a:t>Fifth level</a:t>
            </a:r>
          </a:p>
        </p:txBody>
      </p:sp>
      <p:cxnSp>
        <p:nvCxnSpPr>
          <p:cNvPr id="11" name="Straight Connector 10">
            <a:extLst>
              <a:ext uri="{FF2B5EF4-FFF2-40B4-BE49-F238E27FC236}">
                <a16:creationId xmlns:a16="http://schemas.microsoft.com/office/drawing/2014/main" id="{8B6AFC1A-7411-46B5-810D-D905542FAEA1}"/>
              </a:ext>
            </a:extLst>
          </p:cNvPr>
          <p:cNvCxnSpPr>
            <a:cxnSpLocks/>
          </p:cNvCxnSpPr>
          <p:nvPr userDrawn="1"/>
        </p:nvCxnSpPr>
        <p:spPr>
          <a:xfrm>
            <a:off x="358464" y="1798638"/>
            <a:ext cx="5627999"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95996693"/>
      </p:ext>
    </p:extLst>
  </p:cSld>
  <p:clrMapOvr>
    <a:masterClrMapping/>
  </p:clrMapOvr>
  <p:extLst>
    <p:ext uri="{DCECCB84-F9BA-43D5-87BE-67443E8EF086}">
      <p15:sldGuideLst xmlns:p15="http://schemas.microsoft.com/office/powerpoint/2012/main">
        <p15:guide id="1" orient="horz" pos="170" userDrawn="1">
          <p15:clr>
            <a:srgbClr val="717275"/>
          </p15:clr>
        </p15:guide>
        <p15:guide id="2" orient="horz" pos="762" userDrawn="1">
          <p15:clr>
            <a:srgbClr val="717275"/>
          </p15:clr>
        </p15:guide>
        <p15:guide id="3" orient="horz" pos="1133" userDrawn="1">
          <p15:clr>
            <a:srgbClr val="FF96FF"/>
          </p15:clr>
        </p15:guide>
        <p15:guide id="4" orient="horz" pos="3753" userDrawn="1">
          <p15:clr>
            <a:srgbClr val="FF96FF"/>
          </p15:clr>
        </p15:guide>
        <p15:guide id="5" pos="226" userDrawn="1">
          <p15:clr>
            <a:srgbClr val="FF96FF"/>
          </p15:clr>
        </p15:guide>
        <p15:guide id="6" pos="3771" userDrawn="1">
          <p15:clr>
            <a:srgbClr val="FF96FF"/>
          </p15:clr>
        </p15:guide>
        <p15:guide id="7" pos="3908" userDrawn="1">
          <p15:clr>
            <a:srgbClr val="FF96FF"/>
          </p15:clr>
        </p15:guide>
        <p15:guide id="8" pos="7453" userDrawn="1">
          <p15:clr>
            <a:srgbClr val="FF96FF"/>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3">
    <p:bg>
      <p:bgPr>
        <a:solidFill>
          <a:schemeClr val="bg1"/>
        </a:solidFill>
        <a:effectLst/>
      </p:bgPr>
    </p:bg>
    <p:spTree>
      <p:nvGrpSpPr>
        <p:cNvPr id="1" name=""/>
        <p:cNvGrpSpPr/>
        <p:nvPr/>
      </p:nvGrpSpPr>
      <p:grpSpPr>
        <a:xfrm>
          <a:off x="0" y="0"/>
          <a:ext cx="0" cy="0"/>
          <a:chOff x="0" y="0"/>
          <a:chExt cx="0" cy="0"/>
        </a:xfrm>
      </p:grpSpPr>
      <p:pic>
        <p:nvPicPr>
          <p:cNvPr id="15" name="Graphic 14">
            <a:extLst>
              <a:ext uri="{FF2B5EF4-FFF2-40B4-BE49-F238E27FC236}">
                <a16:creationId xmlns:a16="http://schemas.microsoft.com/office/drawing/2014/main" id="{1B111059-DBC4-45AB-8F17-173A4FC28874}"/>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DE5BBB5A-E909-4B98-99CC-B3F2B12EF9E8}"/>
              </a:ext>
            </a:extLst>
          </p:cNvPr>
          <p:cNvSpPr>
            <a:spLocks noGrp="1"/>
          </p:cNvSpPr>
          <p:nvPr>
            <p:ph type="ctrTitle" hasCustomPrompt="1"/>
          </p:nvPr>
        </p:nvSpPr>
        <p:spPr>
          <a:xfrm>
            <a:off x="358774" y="1798637"/>
            <a:ext cx="7577140" cy="2173288"/>
          </a:xfrm>
        </p:spPr>
        <p:txBody>
          <a:bodyPr anchor="ctr" anchorCtr="0">
            <a:noAutofit/>
          </a:bodyPr>
          <a:lstStyle>
            <a:lvl1pPr algn="l">
              <a:defRPr sz="4800"/>
            </a:lvl1pPr>
          </a:lstStyle>
          <a:p>
            <a:r>
              <a:rPr lang="en-US"/>
              <a:t>Add title</a:t>
            </a:r>
          </a:p>
        </p:txBody>
      </p:sp>
      <p:sp>
        <p:nvSpPr>
          <p:cNvPr id="7" name="Guides" hidden="1">
            <a:extLst>
              <a:ext uri="{FF2B5EF4-FFF2-40B4-BE49-F238E27FC236}">
                <a16:creationId xmlns:a16="http://schemas.microsoft.com/office/drawing/2014/main" id="{25E35409-37AF-410A-BB15-B1EDB639D7DA}"/>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8" name="Text Placeholder 4">
            <a:extLst>
              <a:ext uri="{FF2B5EF4-FFF2-40B4-BE49-F238E27FC236}">
                <a16:creationId xmlns:a16="http://schemas.microsoft.com/office/drawing/2014/main" id="{F71DB77D-2F07-40F6-BC00-A91E707946B5}"/>
              </a:ext>
            </a:extLst>
          </p:cNvPr>
          <p:cNvSpPr>
            <a:spLocks noGrp="1"/>
          </p:cNvSpPr>
          <p:nvPr>
            <p:ph type="body" sz="quarter" idx="11" hasCustomPrompt="1"/>
          </p:nvPr>
        </p:nvSpPr>
        <p:spPr>
          <a:xfrm>
            <a:off x="358775" y="4392000"/>
            <a:ext cx="7577138" cy="1620000"/>
          </a:xfrm>
        </p:spPr>
        <p:txBody>
          <a:bodyPr/>
          <a:lstStyle>
            <a:lvl1pPr marL="0" indent="0">
              <a:buNone/>
              <a:defRPr sz="4800">
                <a:latin typeface="+mn-lt"/>
              </a:defRPr>
            </a:lvl1pPr>
            <a:lvl2pPr marL="0" indent="0">
              <a:buNone/>
              <a:defRPr sz="4800">
                <a:latin typeface="+mn-lt"/>
              </a:defRPr>
            </a:lvl2pPr>
            <a:lvl3pPr marL="0" indent="0">
              <a:buNone/>
              <a:defRPr sz="4800">
                <a:latin typeface="+mn-lt"/>
              </a:defRPr>
            </a:lvl3pPr>
            <a:lvl4pPr marL="0" indent="0">
              <a:buNone/>
              <a:defRPr sz="4800">
                <a:latin typeface="+mn-lt"/>
              </a:defRPr>
            </a:lvl4pPr>
            <a:lvl5pPr marL="0" indent="0">
              <a:buNone/>
              <a:defRPr sz="4800">
                <a:latin typeface="+mn-lt"/>
              </a:defRPr>
            </a:lvl5pPr>
            <a:lvl6pPr marL="0" indent="0">
              <a:buNone/>
              <a:defRPr sz="4800"/>
            </a:lvl6pPr>
          </a:lstStyle>
          <a:p>
            <a:pPr lvl="0"/>
            <a:r>
              <a:rPr lang="en-US"/>
              <a:t>Add subtitle or date</a:t>
            </a:r>
          </a:p>
        </p:txBody>
      </p:sp>
      <p:pic>
        <p:nvPicPr>
          <p:cNvPr id="1696983958" name="image" descr="{&quot;templafy&quot;:{&quot;id&quot;:&quot;b7ac4452-9e4b-4883-9dd5-6ec32e19b968&quot;}}"/>
          <p:cNvPicPr>
            <a:picLocks noChangeAspect="1"/>
          </p:cNvPicPr>
          <p:nvPr/>
        </p:nvPicPr>
        <p:blipFill>
          <a:blip r:embed="rId5"/>
          <a:stretch>
            <a:fillRect/>
          </a:stretch>
        </p:blipFill>
        <p:spPr>
          <a:xfrm>
            <a:off x="358774" y="269875"/>
            <a:ext cx="2253600" cy="290941"/>
          </a:xfrm>
          <a:prstGeom prst="rect">
            <a:avLst/>
          </a:prstGeom>
        </p:spPr>
      </p:pic>
      <p:pic>
        <p:nvPicPr>
          <p:cNvPr id="4" name="Picture 3" hidden="1">
            <a:extLst>
              <a:ext uri="{FF2B5EF4-FFF2-40B4-BE49-F238E27FC236}">
                <a16:creationId xmlns:a16="http://schemas.microsoft.com/office/drawing/2014/main" id="{DEFF3989-711A-44DF-AD89-77342A00D725}"/>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358774" y="431875"/>
            <a:ext cx="4740492" cy="612000"/>
          </a:xfrm>
          <a:prstGeom prst="rect">
            <a:avLst/>
          </a:prstGeom>
        </p:spPr>
      </p:pic>
    </p:spTree>
    <p:extLst>
      <p:ext uri="{BB962C8B-B14F-4D97-AF65-F5344CB8AC3E}">
        <p14:creationId xmlns:p14="http://schemas.microsoft.com/office/powerpoint/2010/main" val="1203858432"/>
      </p:ext>
    </p:extLst>
  </p:cSld>
  <p:clrMapOvr>
    <a:masterClrMapping/>
  </p:clrMapOvr>
  <p:extLst>
    <p:ext uri="{DCECCB84-F9BA-43D5-87BE-67443E8EF086}">
      <p15:sldGuideLst xmlns:p15="http://schemas.microsoft.com/office/powerpoint/2012/main">
        <p15:guide id="1" orient="horz" pos="170" userDrawn="1">
          <p15:clr>
            <a:srgbClr val="717275"/>
          </p15:clr>
        </p15:guide>
        <p15:guide id="2" orient="horz" pos="762" userDrawn="1">
          <p15:clr>
            <a:srgbClr val="717275"/>
          </p15:clr>
        </p15:guide>
        <p15:guide id="3" orient="horz" pos="1133" userDrawn="1">
          <p15:clr>
            <a:srgbClr val="FF96FF"/>
          </p15:clr>
        </p15:guide>
        <p15:guide id="4" orient="horz" pos="3753" userDrawn="1">
          <p15:clr>
            <a:srgbClr val="FF96FF"/>
          </p15:clr>
        </p15:guide>
        <p15:guide id="5" pos="226" userDrawn="1">
          <p15:clr>
            <a:srgbClr val="FF96FF"/>
          </p15:clr>
        </p15:guide>
        <p15:guide id="6" pos="2544" userDrawn="1">
          <p15:clr>
            <a:srgbClr val="FF96FF"/>
          </p15:clr>
        </p15:guide>
        <p15:guide id="7" pos="2680" userDrawn="1">
          <p15:clr>
            <a:srgbClr val="FF96FF"/>
          </p15:clr>
        </p15:guide>
        <p15:guide id="8" pos="4999" userDrawn="1">
          <p15:clr>
            <a:srgbClr val="FF96FF"/>
          </p15:clr>
        </p15:guide>
        <p15:guide id="9" pos="5135" userDrawn="1">
          <p15:clr>
            <a:srgbClr val="FF96FF"/>
          </p15:clr>
        </p15:guide>
        <p15:guide id="10" pos="7453" userDrawn="1">
          <p15:clr>
            <a:srgbClr val="FF96FF"/>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ontent and Picture (Caption and Not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20EB4D-FDD6-4013-AD88-C01CFF8DE68E}"/>
              </a:ext>
            </a:extLst>
          </p:cNvPr>
          <p:cNvSpPr>
            <a:spLocks noGrp="1"/>
          </p:cNvSpPr>
          <p:nvPr>
            <p:ph type="title" hasCustomPrompt="1"/>
          </p:nvPr>
        </p:nvSpPr>
        <p:spPr>
          <a:xfrm>
            <a:off x="360000" y="270001"/>
            <a:ext cx="5626463" cy="939674"/>
          </a:xfrm>
        </p:spPr>
        <p:txBody>
          <a:bodyPr/>
          <a:lstStyle>
            <a:lvl1pPr>
              <a:defRPr/>
            </a:lvl1pPr>
          </a:lstStyle>
          <a:p>
            <a:r>
              <a:rPr lang="en-US"/>
              <a:t>Add title</a:t>
            </a:r>
          </a:p>
        </p:txBody>
      </p:sp>
      <p:sp>
        <p:nvSpPr>
          <p:cNvPr id="3" name="Content Placeholder 2">
            <a:extLst>
              <a:ext uri="{FF2B5EF4-FFF2-40B4-BE49-F238E27FC236}">
                <a16:creationId xmlns:a16="http://schemas.microsoft.com/office/drawing/2014/main" id="{B06A07A4-FC84-46D6-8C0C-1AE653D2DF4E}"/>
              </a:ext>
            </a:extLst>
          </p:cNvPr>
          <p:cNvSpPr>
            <a:spLocks noGrp="1"/>
          </p:cNvSpPr>
          <p:nvPr>
            <p:ph idx="1" hasCustomPrompt="1"/>
          </p:nvPr>
        </p:nvSpPr>
        <p:spPr>
          <a:xfrm>
            <a:off x="360000" y="1933575"/>
            <a:ext cx="3636000" cy="4017113"/>
          </a:xfrm>
        </p:spPr>
        <p:txBody>
          <a:bodyPr/>
          <a:lstStyle>
            <a:lvl1pPr>
              <a:defRPr/>
            </a:lvl1pPr>
          </a:lstStyle>
          <a:p>
            <a:pPr lvl="0"/>
            <a:r>
              <a:rPr lang="en-US"/>
              <a:t>Add text</a:t>
            </a:r>
          </a:p>
          <a:p>
            <a:pPr lvl="1"/>
            <a:r>
              <a:rPr lang="en-US"/>
              <a:t>Second level</a:t>
            </a:r>
          </a:p>
          <a:p>
            <a:pPr lvl="2"/>
            <a:r>
              <a:rPr lang="en-US"/>
              <a:t>Third level</a:t>
            </a:r>
          </a:p>
          <a:p>
            <a:pPr lvl="3"/>
            <a:r>
              <a:rPr lang="en-US"/>
              <a:t>Fourth level</a:t>
            </a:r>
          </a:p>
          <a:p>
            <a:pPr lvl="4"/>
            <a:r>
              <a:rPr lang="en-US"/>
              <a:t>Fifth level</a:t>
            </a:r>
          </a:p>
        </p:txBody>
      </p:sp>
      <p:sp>
        <p:nvSpPr>
          <p:cNvPr id="7" name="Guides" hidden="1">
            <a:extLst>
              <a:ext uri="{FF2B5EF4-FFF2-40B4-BE49-F238E27FC236}">
                <a16:creationId xmlns:a16="http://schemas.microsoft.com/office/drawing/2014/main" id="{BB27FE75-A2B8-4B3A-85AA-B08EC1555E5F}"/>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8" name="Picture Placeholder 7">
            <a:extLst>
              <a:ext uri="{FF2B5EF4-FFF2-40B4-BE49-F238E27FC236}">
                <a16:creationId xmlns:a16="http://schemas.microsoft.com/office/drawing/2014/main" id="{049B141A-9BA5-4A19-A0FC-DA5123F1D467}"/>
              </a:ext>
            </a:extLst>
          </p:cNvPr>
          <p:cNvSpPr>
            <a:spLocks noGrp="1"/>
          </p:cNvSpPr>
          <p:nvPr>
            <p:ph type="pic" sz="quarter" idx="13" hasCustomPrompt="1"/>
          </p:nvPr>
        </p:nvSpPr>
        <p:spPr>
          <a:xfrm>
            <a:off x="6203949" y="0"/>
            <a:ext cx="5988051" cy="5116513"/>
          </a:xfrm>
        </p:spPr>
        <p:txBody>
          <a:bodyPr tIns="108000"/>
          <a:lstStyle>
            <a:lvl1pPr marL="0" indent="0" algn="ctr">
              <a:buNone/>
              <a:defRPr/>
            </a:lvl1pPr>
          </a:lstStyle>
          <a:p>
            <a:r>
              <a:rPr lang="en-US"/>
              <a:t>Add image</a:t>
            </a:r>
          </a:p>
        </p:txBody>
      </p:sp>
      <p:sp>
        <p:nvSpPr>
          <p:cNvPr id="5" name="Footer Placeholder 4">
            <a:extLst>
              <a:ext uri="{FF2B5EF4-FFF2-40B4-BE49-F238E27FC236}">
                <a16:creationId xmlns:a16="http://schemas.microsoft.com/office/drawing/2014/main" id="{25014382-B193-4639-B430-DDBDD3C02A70}"/>
              </a:ext>
            </a:extLst>
          </p:cNvPr>
          <p:cNvSpPr>
            <a:spLocks noGrp="1"/>
          </p:cNvSpPr>
          <p:nvPr>
            <p:ph type="ftr" sz="quarter" idx="18"/>
          </p:nvPr>
        </p:nvSpPr>
        <p:spPr/>
        <p:txBody>
          <a:bodyPr/>
          <a:lstStyle/>
          <a:p>
            <a:endParaRPr lang="en-US"/>
          </a:p>
        </p:txBody>
      </p:sp>
      <p:sp>
        <p:nvSpPr>
          <p:cNvPr id="6" name="Slide Number Placeholder 5">
            <a:extLst>
              <a:ext uri="{FF2B5EF4-FFF2-40B4-BE49-F238E27FC236}">
                <a16:creationId xmlns:a16="http://schemas.microsoft.com/office/drawing/2014/main" id="{5FAD65E8-94C5-4A7B-9132-01DCD114871C}"/>
              </a:ext>
            </a:extLst>
          </p:cNvPr>
          <p:cNvSpPr>
            <a:spLocks noGrp="1"/>
          </p:cNvSpPr>
          <p:nvPr>
            <p:ph type="sldNum" sz="quarter" idx="19"/>
          </p:nvPr>
        </p:nvSpPr>
        <p:spPr/>
        <p:txBody>
          <a:bodyPr/>
          <a:lstStyle/>
          <a:p>
            <a:fld id="{9E2BE927-25C7-4379-86F1-C17ED9D2A7F2}" type="slidenum">
              <a:rPr lang="en-US" smtClean="0"/>
              <a:pPr/>
              <a:t>‹#›</a:t>
            </a:fld>
            <a:endParaRPr lang="en-US"/>
          </a:p>
        </p:txBody>
      </p:sp>
      <p:sp>
        <p:nvSpPr>
          <p:cNvPr id="10" name="Text Placeholder 9">
            <a:extLst>
              <a:ext uri="{FF2B5EF4-FFF2-40B4-BE49-F238E27FC236}">
                <a16:creationId xmlns:a16="http://schemas.microsoft.com/office/drawing/2014/main" id="{6B6C4400-E6ED-4D35-8BA3-E01FDEC0B419}"/>
              </a:ext>
            </a:extLst>
          </p:cNvPr>
          <p:cNvSpPr>
            <a:spLocks noGrp="1"/>
          </p:cNvSpPr>
          <p:nvPr>
            <p:ph type="body" sz="quarter" idx="20" hasCustomPrompt="1"/>
          </p:nvPr>
        </p:nvSpPr>
        <p:spPr>
          <a:xfrm>
            <a:off x="6203950" y="5276850"/>
            <a:ext cx="5627688" cy="681038"/>
          </a:xfrm>
        </p:spPr>
        <p:txBody>
          <a:bodyPr/>
          <a:lstStyle>
            <a:lvl1pPr marL="0" indent="0">
              <a:buNone/>
              <a:defRPr sz="800">
                <a:solidFill>
                  <a:schemeClr val="bg1">
                    <a:lumMod val="50000"/>
                  </a:schemeClr>
                </a:solidFill>
                <a:latin typeface="+mn-lt"/>
              </a:defRPr>
            </a:lvl1pPr>
            <a:lvl2pPr marL="85725" indent="-85725">
              <a:defRPr sz="800">
                <a:solidFill>
                  <a:schemeClr val="bg1">
                    <a:lumMod val="50000"/>
                  </a:schemeClr>
                </a:solidFill>
                <a:latin typeface="+mn-lt"/>
              </a:defRPr>
            </a:lvl2pPr>
            <a:lvl3pPr marL="85725" indent="-85725">
              <a:defRPr sz="800">
                <a:solidFill>
                  <a:schemeClr val="bg1">
                    <a:lumMod val="50000"/>
                  </a:schemeClr>
                </a:solidFill>
                <a:latin typeface="+mn-lt"/>
              </a:defRPr>
            </a:lvl3pPr>
            <a:lvl4pPr marL="85725" indent="-85725">
              <a:defRPr sz="800">
                <a:solidFill>
                  <a:schemeClr val="bg1">
                    <a:lumMod val="50000"/>
                  </a:schemeClr>
                </a:solidFill>
                <a:latin typeface="+mn-lt"/>
              </a:defRPr>
            </a:lvl4pPr>
            <a:lvl5pPr marL="85725" indent="-85725">
              <a:defRPr sz="800">
                <a:solidFill>
                  <a:schemeClr val="bg1">
                    <a:lumMod val="50000"/>
                  </a:schemeClr>
                </a:solidFill>
                <a:latin typeface="+mn-lt"/>
              </a:defRPr>
            </a:lvl5pPr>
          </a:lstStyle>
          <a:p>
            <a:pPr lvl="0"/>
            <a:r>
              <a:rPr lang="en-US"/>
              <a:t>Add notes</a:t>
            </a:r>
          </a:p>
        </p:txBody>
      </p:sp>
      <p:sp>
        <p:nvSpPr>
          <p:cNvPr id="14" name="Text Placeholder 16">
            <a:extLst>
              <a:ext uri="{FF2B5EF4-FFF2-40B4-BE49-F238E27FC236}">
                <a16:creationId xmlns:a16="http://schemas.microsoft.com/office/drawing/2014/main" id="{5833C665-39F1-4A75-BF27-CE9EADE6B45B}"/>
              </a:ext>
            </a:extLst>
          </p:cNvPr>
          <p:cNvSpPr>
            <a:spLocks noGrp="1"/>
          </p:cNvSpPr>
          <p:nvPr>
            <p:ph type="body" sz="quarter" idx="17" hasCustomPrompt="1"/>
          </p:nvPr>
        </p:nvSpPr>
        <p:spPr>
          <a:xfrm>
            <a:off x="4211948" y="1933574"/>
            <a:ext cx="1774515" cy="4017113"/>
          </a:xfrm>
        </p:spPr>
        <p:txBody>
          <a:bodyPr/>
          <a:lstStyle>
            <a:lvl1pPr marL="0" indent="0">
              <a:buFont typeface="Arial" panose="020B0604020202020204" pitchFamily="34" charset="0"/>
              <a:buNone/>
              <a:defRPr sz="1000">
                <a:latin typeface="Arial Black" panose="020B0A04020102020204" pitchFamily="34" charset="0"/>
              </a:defRPr>
            </a:lvl1pPr>
            <a:lvl2pPr marL="0" indent="0">
              <a:buFont typeface="Arial" panose="020B0604020202020204" pitchFamily="34" charset="0"/>
              <a:buNone/>
              <a:defRPr sz="1000">
                <a:latin typeface="+mj-lt"/>
              </a:defRPr>
            </a:lvl2pPr>
            <a:lvl3pPr marL="0" indent="0">
              <a:buFont typeface="Arial" panose="020B0604020202020204" pitchFamily="34" charset="0"/>
              <a:buNone/>
              <a:defRPr sz="1000">
                <a:latin typeface="+mj-lt"/>
              </a:defRPr>
            </a:lvl3pPr>
            <a:lvl4pPr marL="0" indent="0">
              <a:buFont typeface="Arial" panose="020B0604020202020204" pitchFamily="34" charset="0"/>
              <a:buNone/>
              <a:defRPr sz="1000">
                <a:latin typeface="+mj-lt"/>
              </a:defRPr>
            </a:lvl4pPr>
            <a:lvl5pPr marL="0" indent="0">
              <a:buFont typeface="Arial" panose="020B0604020202020204" pitchFamily="34" charset="0"/>
              <a:buNone/>
              <a:defRPr sz="1000">
                <a:latin typeface="+mj-lt"/>
              </a:defRPr>
            </a:lvl5pPr>
          </a:lstStyle>
          <a:p>
            <a:pPr lvl="0"/>
            <a:r>
              <a:rPr lang="en-US"/>
              <a:t>Add supporting caption for images or diagrams ► </a:t>
            </a:r>
          </a:p>
        </p:txBody>
      </p:sp>
      <p:cxnSp>
        <p:nvCxnSpPr>
          <p:cNvPr id="13" name="Straight Connector 12">
            <a:extLst>
              <a:ext uri="{FF2B5EF4-FFF2-40B4-BE49-F238E27FC236}">
                <a16:creationId xmlns:a16="http://schemas.microsoft.com/office/drawing/2014/main" id="{551FC172-A618-4D33-986D-4DB159A40683}"/>
              </a:ext>
            </a:extLst>
          </p:cNvPr>
          <p:cNvCxnSpPr>
            <a:cxnSpLocks/>
          </p:cNvCxnSpPr>
          <p:nvPr userDrawn="1"/>
        </p:nvCxnSpPr>
        <p:spPr>
          <a:xfrm>
            <a:off x="358464" y="1798638"/>
            <a:ext cx="3637536"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2422B339-6A22-4BE5-A2CA-235B2C90E22F}"/>
              </a:ext>
            </a:extLst>
          </p:cNvPr>
          <p:cNvCxnSpPr>
            <a:cxnSpLocks/>
          </p:cNvCxnSpPr>
          <p:nvPr userDrawn="1"/>
        </p:nvCxnSpPr>
        <p:spPr>
          <a:xfrm>
            <a:off x="4211948" y="1798638"/>
            <a:ext cx="1774515"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78771879"/>
      </p:ext>
    </p:extLst>
  </p:cSld>
  <p:clrMapOvr>
    <a:masterClrMapping/>
  </p:clrMapOvr>
  <p:extLst>
    <p:ext uri="{DCECCB84-F9BA-43D5-87BE-67443E8EF086}">
      <p15:sldGuideLst xmlns:p15="http://schemas.microsoft.com/office/powerpoint/2012/main">
        <p15:guide id="1" orient="horz" pos="170" userDrawn="1">
          <p15:clr>
            <a:srgbClr val="717275"/>
          </p15:clr>
        </p15:guide>
        <p15:guide id="2" orient="horz" pos="762" userDrawn="1">
          <p15:clr>
            <a:srgbClr val="717275"/>
          </p15:clr>
        </p15:guide>
        <p15:guide id="3" orient="horz" pos="1133" userDrawn="1">
          <p15:clr>
            <a:srgbClr val="FF96FF"/>
          </p15:clr>
        </p15:guide>
        <p15:guide id="4" orient="horz" pos="3753" userDrawn="1">
          <p15:clr>
            <a:srgbClr val="FF96FF"/>
          </p15:clr>
        </p15:guide>
        <p15:guide id="5" pos="226" userDrawn="1">
          <p15:clr>
            <a:srgbClr val="FF96FF"/>
          </p15:clr>
        </p15:guide>
        <p15:guide id="6" pos="3771" userDrawn="1">
          <p15:clr>
            <a:srgbClr val="FF96FF"/>
          </p15:clr>
        </p15:guide>
        <p15:guide id="7" pos="3908" userDrawn="1">
          <p15:clr>
            <a:srgbClr val="FF96FF"/>
          </p15:clr>
        </p15:guide>
        <p15:guide id="8" pos="7453" userDrawn="1">
          <p15:clr>
            <a:srgbClr val="FF96FF"/>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Content and Picture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20EB4D-FDD6-4013-AD88-C01CFF8DE68E}"/>
              </a:ext>
            </a:extLst>
          </p:cNvPr>
          <p:cNvSpPr>
            <a:spLocks noGrp="1"/>
          </p:cNvSpPr>
          <p:nvPr>
            <p:ph type="title" hasCustomPrompt="1"/>
          </p:nvPr>
        </p:nvSpPr>
        <p:spPr>
          <a:xfrm>
            <a:off x="360000" y="270001"/>
            <a:ext cx="5626463" cy="939674"/>
          </a:xfrm>
        </p:spPr>
        <p:txBody>
          <a:bodyPr/>
          <a:lstStyle>
            <a:lvl1pPr>
              <a:defRPr/>
            </a:lvl1pPr>
          </a:lstStyle>
          <a:p>
            <a:r>
              <a:rPr lang="en-US"/>
              <a:t>Add title</a:t>
            </a:r>
          </a:p>
        </p:txBody>
      </p:sp>
      <p:sp>
        <p:nvSpPr>
          <p:cNvPr id="3" name="Content Placeholder 2">
            <a:extLst>
              <a:ext uri="{FF2B5EF4-FFF2-40B4-BE49-F238E27FC236}">
                <a16:creationId xmlns:a16="http://schemas.microsoft.com/office/drawing/2014/main" id="{B06A07A4-FC84-46D6-8C0C-1AE653D2DF4E}"/>
              </a:ext>
            </a:extLst>
          </p:cNvPr>
          <p:cNvSpPr>
            <a:spLocks noGrp="1"/>
          </p:cNvSpPr>
          <p:nvPr>
            <p:ph idx="1" hasCustomPrompt="1"/>
          </p:nvPr>
        </p:nvSpPr>
        <p:spPr>
          <a:xfrm>
            <a:off x="360000" y="1933575"/>
            <a:ext cx="3636000" cy="4024313"/>
          </a:xfrm>
        </p:spPr>
        <p:txBody>
          <a:bodyPr/>
          <a:lstStyle>
            <a:lvl1pPr>
              <a:defRPr/>
            </a:lvl1pPr>
          </a:lstStyle>
          <a:p>
            <a:pPr lvl="0"/>
            <a:r>
              <a:rPr lang="en-US"/>
              <a:t>Add text</a:t>
            </a:r>
          </a:p>
          <a:p>
            <a:pPr lvl="1"/>
            <a:r>
              <a:rPr lang="en-US"/>
              <a:t>Second level</a:t>
            </a:r>
          </a:p>
          <a:p>
            <a:pPr lvl="2"/>
            <a:r>
              <a:rPr lang="en-US"/>
              <a:t>Third level</a:t>
            </a:r>
          </a:p>
          <a:p>
            <a:pPr lvl="3"/>
            <a:r>
              <a:rPr lang="en-US"/>
              <a:t>Fourth level</a:t>
            </a:r>
          </a:p>
          <a:p>
            <a:pPr lvl="4"/>
            <a:r>
              <a:rPr lang="en-US"/>
              <a:t>Fifth level</a:t>
            </a:r>
          </a:p>
        </p:txBody>
      </p:sp>
      <p:sp>
        <p:nvSpPr>
          <p:cNvPr id="7" name="Guides" hidden="1">
            <a:extLst>
              <a:ext uri="{FF2B5EF4-FFF2-40B4-BE49-F238E27FC236}">
                <a16:creationId xmlns:a16="http://schemas.microsoft.com/office/drawing/2014/main" id="{BB27FE75-A2B8-4B3A-85AA-B08EC1555E5F}"/>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8" name="Picture Placeholder 7">
            <a:extLst>
              <a:ext uri="{FF2B5EF4-FFF2-40B4-BE49-F238E27FC236}">
                <a16:creationId xmlns:a16="http://schemas.microsoft.com/office/drawing/2014/main" id="{049B141A-9BA5-4A19-A0FC-DA5123F1D467}"/>
              </a:ext>
            </a:extLst>
          </p:cNvPr>
          <p:cNvSpPr>
            <a:spLocks noGrp="1"/>
          </p:cNvSpPr>
          <p:nvPr>
            <p:ph type="pic" sz="quarter" idx="13" hasCustomPrompt="1"/>
          </p:nvPr>
        </p:nvSpPr>
        <p:spPr>
          <a:xfrm>
            <a:off x="6203949" y="0"/>
            <a:ext cx="5988051" cy="6858000"/>
          </a:xfrm>
        </p:spPr>
        <p:txBody>
          <a:bodyPr tIns="108000"/>
          <a:lstStyle>
            <a:lvl1pPr marL="0" indent="0" algn="ctr">
              <a:buNone/>
              <a:defRPr/>
            </a:lvl1pPr>
          </a:lstStyle>
          <a:p>
            <a:r>
              <a:rPr lang="en-US"/>
              <a:t>Add image</a:t>
            </a:r>
          </a:p>
        </p:txBody>
      </p:sp>
      <p:sp>
        <p:nvSpPr>
          <p:cNvPr id="17" name="Text Placeholder 16">
            <a:extLst>
              <a:ext uri="{FF2B5EF4-FFF2-40B4-BE49-F238E27FC236}">
                <a16:creationId xmlns:a16="http://schemas.microsoft.com/office/drawing/2014/main" id="{8AA74B35-B540-4B3C-9D8F-817164847D73}"/>
              </a:ext>
            </a:extLst>
          </p:cNvPr>
          <p:cNvSpPr>
            <a:spLocks noGrp="1"/>
          </p:cNvSpPr>
          <p:nvPr>
            <p:ph type="body" sz="quarter" idx="17" hasCustomPrompt="1"/>
          </p:nvPr>
        </p:nvSpPr>
        <p:spPr>
          <a:xfrm>
            <a:off x="4211948" y="1933574"/>
            <a:ext cx="1774515" cy="4024313"/>
          </a:xfrm>
        </p:spPr>
        <p:txBody>
          <a:bodyPr/>
          <a:lstStyle>
            <a:lvl1pPr marL="0" indent="0">
              <a:buFont typeface="Arial" panose="020B0604020202020204" pitchFamily="34" charset="0"/>
              <a:buNone/>
              <a:defRPr sz="1000">
                <a:latin typeface="Arial Black" panose="020B0A04020102020204" pitchFamily="34" charset="0"/>
              </a:defRPr>
            </a:lvl1pPr>
            <a:lvl2pPr marL="0" indent="0">
              <a:buFont typeface="Arial" panose="020B0604020202020204" pitchFamily="34" charset="0"/>
              <a:buNone/>
              <a:defRPr sz="1000">
                <a:latin typeface="+mj-lt"/>
              </a:defRPr>
            </a:lvl2pPr>
            <a:lvl3pPr marL="0" indent="0">
              <a:buFont typeface="Arial" panose="020B0604020202020204" pitchFamily="34" charset="0"/>
              <a:buNone/>
              <a:defRPr sz="1000">
                <a:latin typeface="+mj-lt"/>
              </a:defRPr>
            </a:lvl3pPr>
            <a:lvl4pPr marL="0" indent="0">
              <a:buFont typeface="Arial" panose="020B0604020202020204" pitchFamily="34" charset="0"/>
              <a:buNone/>
              <a:defRPr sz="1000">
                <a:latin typeface="+mj-lt"/>
              </a:defRPr>
            </a:lvl4pPr>
            <a:lvl5pPr marL="0" indent="0">
              <a:buFont typeface="Arial" panose="020B0604020202020204" pitchFamily="34" charset="0"/>
              <a:buNone/>
              <a:defRPr sz="1000">
                <a:latin typeface="+mj-lt"/>
              </a:defRPr>
            </a:lvl5pPr>
          </a:lstStyle>
          <a:p>
            <a:pPr lvl="0"/>
            <a:r>
              <a:rPr lang="en-US"/>
              <a:t>Add supporting caption for images or diagrams ►</a:t>
            </a:r>
          </a:p>
        </p:txBody>
      </p:sp>
      <p:cxnSp>
        <p:nvCxnSpPr>
          <p:cNvPr id="9" name="Straight Connector 8">
            <a:extLst>
              <a:ext uri="{FF2B5EF4-FFF2-40B4-BE49-F238E27FC236}">
                <a16:creationId xmlns:a16="http://schemas.microsoft.com/office/drawing/2014/main" id="{76C64633-7D3D-4F87-8DBB-3884A55B8BA3}"/>
              </a:ext>
            </a:extLst>
          </p:cNvPr>
          <p:cNvCxnSpPr>
            <a:cxnSpLocks/>
          </p:cNvCxnSpPr>
          <p:nvPr userDrawn="1"/>
        </p:nvCxnSpPr>
        <p:spPr>
          <a:xfrm>
            <a:off x="358464" y="1798638"/>
            <a:ext cx="3637536"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2566F7B9-AC7A-43B8-8EA2-35264308E6E0}"/>
              </a:ext>
            </a:extLst>
          </p:cNvPr>
          <p:cNvCxnSpPr>
            <a:cxnSpLocks/>
          </p:cNvCxnSpPr>
          <p:nvPr userDrawn="1"/>
        </p:nvCxnSpPr>
        <p:spPr>
          <a:xfrm>
            <a:off x="4211948" y="1798638"/>
            <a:ext cx="1774515"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02482626"/>
      </p:ext>
    </p:extLst>
  </p:cSld>
  <p:clrMapOvr>
    <a:masterClrMapping/>
  </p:clrMapOvr>
  <p:extLst>
    <p:ext uri="{DCECCB84-F9BA-43D5-87BE-67443E8EF086}">
      <p15:sldGuideLst xmlns:p15="http://schemas.microsoft.com/office/powerpoint/2012/main">
        <p15:guide id="1" orient="horz" pos="170" userDrawn="1">
          <p15:clr>
            <a:srgbClr val="717275"/>
          </p15:clr>
        </p15:guide>
        <p15:guide id="2" orient="horz" pos="762" userDrawn="1">
          <p15:clr>
            <a:srgbClr val="717275"/>
          </p15:clr>
        </p15:guide>
        <p15:guide id="3" orient="horz" pos="1133" userDrawn="1">
          <p15:clr>
            <a:srgbClr val="FF96FF"/>
          </p15:clr>
        </p15:guide>
        <p15:guide id="4" orient="horz" pos="3753" userDrawn="1">
          <p15:clr>
            <a:srgbClr val="FF96FF"/>
          </p15:clr>
        </p15:guide>
        <p15:guide id="5" pos="226" userDrawn="1">
          <p15:clr>
            <a:srgbClr val="FF96FF"/>
          </p15:clr>
        </p15:guide>
        <p15:guide id="6" pos="3771" userDrawn="1">
          <p15:clr>
            <a:srgbClr val="FF96FF"/>
          </p15:clr>
        </p15:guide>
        <p15:guide id="7" pos="3908" userDrawn="1">
          <p15:clr>
            <a:srgbClr val="FF96FF"/>
          </p15:clr>
        </p15:guide>
        <p15:guide id="8" pos="7453" userDrawn="1">
          <p15:clr>
            <a:srgbClr val="FF96FF"/>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Picture">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357C579B-417E-4225-9C3E-B7DC3D5AF0B8}"/>
              </a:ext>
            </a:extLst>
          </p:cNvPr>
          <p:cNvSpPr>
            <a:spLocks noGrp="1"/>
          </p:cNvSpPr>
          <p:nvPr>
            <p:ph type="sldNum" sz="quarter" idx="12"/>
          </p:nvPr>
        </p:nvSpPr>
        <p:spPr/>
        <p:txBody>
          <a:bodyPr/>
          <a:lstStyle/>
          <a:p>
            <a:fld id="{9E2BE927-25C7-4379-86F1-C17ED9D2A7F2}" type="slidenum">
              <a:rPr lang="en-US" smtClean="0"/>
              <a:t>‹#›</a:t>
            </a:fld>
            <a:endParaRPr lang="en-US"/>
          </a:p>
        </p:txBody>
      </p:sp>
      <p:sp>
        <p:nvSpPr>
          <p:cNvPr id="5" name="Guides" hidden="1">
            <a:extLst>
              <a:ext uri="{FF2B5EF4-FFF2-40B4-BE49-F238E27FC236}">
                <a16:creationId xmlns:a16="http://schemas.microsoft.com/office/drawing/2014/main" id="{AE293D12-3575-4044-B77C-740363754EDD}"/>
              </a:ext>
            </a:extLst>
          </p:cNvPr>
          <p:cNvSpPr/>
          <p:nvPr userDrawn="1"/>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6" name="Picture Placeholder 5">
            <a:extLst>
              <a:ext uri="{FF2B5EF4-FFF2-40B4-BE49-F238E27FC236}">
                <a16:creationId xmlns:a16="http://schemas.microsoft.com/office/drawing/2014/main" id="{20665364-8FDD-4EEB-8935-38E9CC0C0A0B}"/>
              </a:ext>
            </a:extLst>
          </p:cNvPr>
          <p:cNvSpPr>
            <a:spLocks noGrp="1"/>
          </p:cNvSpPr>
          <p:nvPr>
            <p:ph type="pic" sz="quarter" idx="13" hasCustomPrompt="1"/>
          </p:nvPr>
        </p:nvSpPr>
        <p:spPr>
          <a:xfrm>
            <a:off x="0" y="0"/>
            <a:ext cx="12192000" cy="6858000"/>
          </a:xfrm>
        </p:spPr>
        <p:txBody>
          <a:bodyPr tIns="144000"/>
          <a:lstStyle>
            <a:lvl1pPr marL="0" indent="0" algn="ctr">
              <a:buNone/>
              <a:defRPr/>
            </a:lvl1pPr>
          </a:lstStyle>
          <a:p>
            <a:r>
              <a:rPr lang="en-US"/>
              <a:t>Add image</a:t>
            </a:r>
          </a:p>
        </p:txBody>
      </p:sp>
    </p:spTree>
    <p:extLst>
      <p:ext uri="{BB962C8B-B14F-4D97-AF65-F5344CB8AC3E}">
        <p14:creationId xmlns:p14="http://schemas.microsoft.com/office/powerpoint/2010/main" val="2262229252"/>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Picture and Caption Left">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85ECFE03-6EEB-4D4C-98E1-8AA0B08B206C}"/>
              </a:ext>
            </a:extLst>
          </p:cNvPr>
          <p:cNvSpPr>
            <a:spLocks noGrp="1"/>
          </p:cNvSpPr>
          <p:nvPr>
            <p:ph type="pic" sz="quarter" idx="18" hasCustomPrompt="1"/>
          </p:nvPr>
        </p:nvSpPr>
        <p:spPr>
          <a:xfrm>
            <a:off x="2306638" y="0"/>
            <a:ext cx="9885362" cy="6858000"/>
          </a:xfrm>
        </p:spPr>
        <p:txBody>
          <a:bodyPr tIns="144000"/>
          <a:lstStyle>
            <a:lvl1pPr marL="0" indent="0" algn="ctr">
              <a:buNone/>
              <a:defRPr/>
            </a:lvl1pPr>
          </a:lstStyle>
          <a:p>
            <a:r>
              <a:rPr lang="en-US"/>
              <a:t>Add image</a:t>
            </a:r>
          </a:p>
        </p:txBody>
      </p:sp>
      <p:sp>
        <p:nvSpPr>
          <p:cNvPr id="5" name="Slide Number Placeholder 4">
            <a:extLst>
              <a:ext uri="{FF2B5EF4-FFF2-40B4-BE49-F238E27FC236}">
                <a16:creationId xmlns:a16="http://schemas.microsoft.com/office/drawing/2014/main" id="{5ED246F0-BBF4-4152-BCCE-89F927A0D452}"/>
              </a:ext>
            </a:extLst>
          </p:cNvPr>
          <p:cNvSpPr>
            <a:spLocks noGrp="1"/>
          </p:cNvSpPr>
          <p:nvPr>
            <p:ph type="sldNum" sz="quarter" idx="12"/>
          </p:nvPr>
        </p:nvSpPr>
        <p:spPr/>
        <p:txBody>
          <a:bodyPr/>
          <a:lstStyle/>
          <a:p>
            <a:fld id="{9E2BE927-25C7-4379-86F1-C17ED9D2A7F2}" type="slidenum">
              <a:rPr lang="en-US" smtClean="0"/>
              <a:pPr/>
              <a:t>‹#›</a:t>
            </a:fld>
            <a:endParaRPr lang="en-US"/>
          </a:p>
        </p:txBody>
      </p:sp>
      <p:sp>
        <p:nvSpPr>
          <p:cNvPr id="6" name="Guides" hidden="1">
            <a:extLst>
              <a:ext uri="{FF2B5EF4-FFF2-40B4-BE49-F238E27FC236}">
                <a16:creationId xmlns:a16="http://schemas.microsoft.com/office/drawing/2014/main" id="{53DE0FE0-6D29-4965-A5CE-ABC21AEA398E}"/>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8" name="Text Placeholder 16">
            <a:extLst>
              <a:ext uri="{FF2B5EF4-FFF2-40B4-BE49-F238E27FC236}">
                <a16:creationId xmlns:a16="http://schemas.microsoft.com/office/drawing/2014/main" id="{FBB49A15-B275-43D0-A0CB-A5A482CA9DC5}"/>
              </a:ext>
            </a:extLst>
          </p:cNvPr>
          <p:cNvSpPr>
            <a:spLocks noGrp="1"/>
          </p:cNvSpPr>
          <p:nvPr>
            <p:ph type="body" sz="quarter" idx="17" hasCustomPrompt="1"/>
          </p:nvPr>
        </p:nvSpPr>
        <p:spPr>
          <a:xfrm>
            <a:off x="358775" y="435711"/>
            <a:ext cx="1732000" cy="4081575"/>
          </a:xfrm>
        </p:spPr>
        <p:txBody>
          <a:bodyPr/>
          <a:lstStyle>
            <a:lvl1pPr marL="0" indent="0">
              <a:buFont typeface="Arial" panose="020B0604020202020204" pitchFamily="34" charset="0"/>
              <a:buNone/>
              <a:defRPr sz="1000">
                <a:latin typeface="Arial Black" panose="020B0A04020102020204" pitchFamily="34" charset="0"/>
              </a:defRPr>
            </a:lvl1pPr>
            <a:lvl2pPr marL="0" indent="0">
              <a:buFont typeface="Arial" panose="020B0604020202020204" pitchFamily="34" charset="0"/>
              <a:buNone/>
              <a:defRPr sz="1000">
                <a:latin typeface="+mj-lt"/>
              </a:defRPr>
            </a:lvl2pPr>
            <a:lvl3pPr marL="0" indent="0">
              <a:buFont typeface="Arial" panose="020B0604020202020204" pitchFamily="34" charset="0"/>
              <a:buNone/>
              <a:defRPr sz="1000">
                <a:latin typeface="+mj-lt"/>
              </a:defRPr>
            </a:lvl3pPr>
            <a:lvl4pPr marL="0" indent="0">
              <a:buFont typeface="Arial" panose="020B0604020202020204" pitchFamily="34" charset="0"/>
              <a:buNone/>
              <a:defRPr sz="1000">
                <a:latin typeface="+mj-lt"/>
              </a:defRPr>
            </a:lvl4pPr>
            <a:lvl5pPr marL="0" indent="0">
              <a:buFont typeface="Arial" panose="020B0604020202020204" pitchFamily="34" charset="0"/>
              <a:buNone/>
              <a:defRPr sz="1000">
                <a:latin typeface="+mj-lt"/>
              </a:defRPr>
            </a:lvl5pPr>
          </a:lstStyle>
          <a:p>
            <a:pPr lvl="0"/>
            <a:r>
              <a:rPr lang="en-US"/>
              <a:t>Add supporting caption for images or diagrams ►</a:t>
            </a:r>
          </a:p>
        </p:txBody>
      </p:sp>
      <p:cxnSp>
        <p:nvCxnSpPr>
          <p:cNvPr id="11" name="Straight Connector 10">
            <a:extLst>
              <a:ext uri="{FF2B5EF4-FFF2-40B4-BE49-F238E27FC236}">
                <a16:creationId xmlns:a16="http://schemas.microsoft.com/office/drawing/2014/main" id="{1972A1B9-9317-49E0-94A8-DED1FC1E693B}"/>
              </a:ext>
            </a:extLst>
          </p:cNvPr>
          <p:cNvCxnSpPr>
            <a:cxnSpLocks/>
          </p:cNvCxnSpPr>
          <p:nvPr userDrawn="1"/>
        </p:nvCxnSpPr>
        <p:spPr>
          <a:xfrm>
            <a:off x="358775" y="269875"/>
            <a:ext cx="173200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0793940"/>
      </p:ext>
    </p:extLst>
  </p:cSld>
  <p:clrMapOvr>
    <a:masterClrMapping/>
  </p:clrMapOvr>
  <p:extLst>
    <p:ext uri="{DCECCB84-F9BA-43D5-87BE-67443E8EF086}">
      <p15:sldGuideLst xmlns:p15="http://schemas.microsoft.com/office/powerpoint/2012/main">
        <p15:guide id="1" orient="horz" pos="170" userDrawn="1">
          <p15:clr>
            <a:srgbClr val="717275"/>
          </p15:clr>
        </p15:guide>
        <p15:guide id="2" orient="horz" pos="762" userDrawn="1">
          <p15:clr>
            <a:srgbClr val="717275"/>
          </p15:clr>
        </p15:guide>
        <p15:guide id="3" orient="horz" pos="1133" userDrawn="1">
          <p15:clr>
            <a:srgbClr val="FF96FF"/>
          </p15:clr>
        </p15:guide>
        <p15:guide id="4" orient="horz" pos="3753" userDrawn="1">
          <p15:clr>
            <a:srgbClr val="FF96FF"/>
          </p15:clr>
        </p15:guide>
        <p15:guide id="5" pos="226" userDrawn="1">
          <p15:clr>
            <a:srgbClr val="FF96FF"/>
          </p15:clr>
        </p15:guide>
        <p15:guide id="6" pos="1317" userDrawn="1">
          <p15:clr>
            <a:srgbClr val="FF96FF"/>
          </p15:clr>
        </p15:guide>
        <p15:guide id="7" pos="1453" userDrawn="1">
          <p15:clr>
            <a:srgbClr val="FF96FF"/>
          </p15:clr>
        </p15:guide>
        <p15:guide id="8" pos="2544" userDrawn="1">
          <p15:clr>
            <a:srgbClr val="FF96FF"/>
          </p15:clr>
        </p15:guide>
        <p15:guide id="9" pos="2680" userDrawn="1">
          <p15:clr>
            <a:srgbClr val="FF96FF"/>
          </p15:clr>
        </p15:guide>
        <p15:guide id="10" pos="3771" userDrawn="1">
          <p15:clr>
            <a:srgbClr val="FF96FF"/>
          </p15:clr>
        </p15:guide>
        <p15:guide id="11" pos="3908" userDrawn="1">
          <p15:clr>
            <a:srgbClr val="FF96FF"/>
          </p15:clr>
        </p15:guide>
        <p15:guide id="12" pos="4999" userDrawn="1">
          <p15:clr>
            <a:srgbClr val="FF96FF"/>
          </p15:clr>
        </p15:guide>
        <p15:guide id="13" pos="5135" userDrawn="1">
          <p15:clr>
            <a:srgbClr val="FF96FF"/>
          </p15:clr>
        </p15:guide>
        <p15:guide id="14" pos="6226" userDrawn="1">
          <p15:clr>
            <a:srgbClr val="FF96FF"/>
          </p15:clr>
        </p15:guide>
        <p15:guide id="15" pos="6362" userDrawn="1">
          <p15:clr>
            <a:srgbClr val="FF96FF"/>
          </p15:clr>
        </p15:guide>
        <p15:guide id="16" pos="7453" userDrawn="1">
          <p15:clr>
            <a:srgbClr val="FF96FF"/>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Picture and Caption Bottom">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85ECFE03-6EEB-4D4C-98E1-8AA0B08B206C}"/>
              </a:ext>
            </a:extLst>
          </p:cNvPr>
          <p:cNvSpPr>
            <a:spLocks noGrp="1"/>
          </p:cNvSpPr>
          <p:nvPr>
            <p:ph type="pic" sz="quarter" idx="18" hasCustomPrompt="1"/>
          </p:nvPr>
        </p:nvSpPr>
        <p:spPr>
          <a:xfrm>
            <a:off x="0" y="0"/>
            <a:ext cx="12192000" cy="4491775"/>
          </a:xfrm>
        </p:spPr>
        <p:txBody>
          <a:bodyPr tIns="144000"/>
          <a:lstStyle>
            <a:lvl1pPr marL="0" indent="0" algn="ctr">
              <a:buNone/>
              <a:defRPr/>
            </a:lvl1pPr>
          </a:lstStyle>
          <a:p>
            <a:r>
              <a:rPr lang="en-US"/>
              <a:t>Add image</a:t>
            </a:r>
          </a:p>
        </p:txBody>
      </p:sp>
      <p:sp>
        <p:nvSpPr>
          <p:cNvPr id="5" name="Slide Number Placeholder 4">
            <a:extLst>
              <a:ext uri="{FF2B5EF4-FFF2-40B4-BE49-F238E27FC236}">
                <a16:creationId xmlns:a16="http://schemas.microsoft.com/office/drawing/2014/main" id="{5ED246F0-BBF4-4152-BCCE-89F927A0D452}"/>
              </a:ext>
            </a:extLst>
          </p:cNvPr>
          <p:cNvSpPr>
            <a:spLocks noGrp="1"/>
          </p:cNvSpPr>
          <p:nvPr>
            <p:ph type="sldNum" sz="quarter" idx="12"/>
          </p:nvPr>
        </p:nvSpPr>
        <p:spPr/>
        <p:txBody>
          <a:bodyPr/>
          <a:lstStyle/>
          <a:p>
            <a:fld id="{9E2BE927-25C7-4379-86F1-C17ED9D2A7F2}" type="slidenum">
              <a:rPr lang="en-US" smtClean="0"/>
              <a:pPr/>
              <a:t>‹#›</a:t>
            </a:fld>
            <a:endParaRPr lang="en-US"/>
          </a:p>
        </p:txBody>
      </p:sp>
      <p:sp>
        <p:nvSpPr>
          <p:cNvPr id="6" name="Guides" hidden="1">
            <a:extLst>
              <a:ext uri="{FF2B5EF4-FFF2-40B4-BE49-F238E27FC236}">
                <a16:creationId xmlns:a16="http://schemas.microsoft.com/office/drawing/2014/main" id="{53DE0FE0-6D29-4965-A5CE-ABC21AEA398E}"/>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8" name="Text Placeholder 16">
            <a:extLst>
              <a:ext uri="{FF2B5EF4-FFF2-40B4-BE49-F238E27FC236}">
                <a16:creationId xmlns:a16="http://schemas.microsoft.com/office/drawing/2014/main" id="{FBB49A15-B275-43D0-A0CB-A5A482CA9DC5}"/>
              </a:ext>
            </a:extLst>
          </p:cNvPr>
          <p:cNvSpPr>
            <a:spLocks noGrp="1"/>
          </p:cNvSpPr>
          <p:nvPr>
            <p:ph type="body" sz="quarter" idx="17" hasCustomPrompt="1"/>
          </p:nvPr>
        </p:nvSpPr>
        <p:spPr>
          <a:xfrm>
            <a:off x="10099276" y="4890575"/>
            <a:ext cx="1732000" cy="1067313"/>
          </a:xfrm>
        </p:spPr>
        <p:txBody>
          <a:bodyPr/>
          <a:lstStyle>
            <a:lvl1pPr marL="0" indent="0">
              <a:buFont typeface="Arial" panose="020B0604020202020204" pitchFamily="34" charset="0"/>
              <a:buNone/>
              <a:defRPr sz="1000">
                <a:latin typeface="Arial Black" panose="020B0A04020102020204" pitchFamily="34" charset="0"/>
              </a:defRPr>
            </a:lvl1pPr>
            <a:lvl2pPr marL="0" indent="0">
              <a:buFont typeface="Arial" panose="020B0604020202020204" pitchFamily="34" charset="0"/>
              <a:buNone/>
              <a:defRPr sz="1000">
                <a:latin typeface="+mj-lt"/>
              </a:defRPr>
            </a:lvl2pPr>
            <a:lvl3pPr marL="0" indent="0">
              <a:buFont typeface="Arial" panose="020B0604020202020204" pitchFamily="34" charset="0"/>
              <a:buNone/>
              <a:defRPr sz="1000">
                <a:latin typeface="+mj-lt"/>
              </a:defRPr>
            </a:lvl3pPr>
            <a:lvl4pPr marL="0" indent="0">
              <a:buFont typeface="Arial" panose="020B0604020202020204" pitchFamily="34" charset="0"/>
              <a:buNone/>
              <a:defRPr sz="1000">
                <a:latin typeface="+mj-lt"/>
              </a:defRPr>
            </a:lvl4pPr>
            <a:lvl5pPr marL="0" indent="0">
              <a:buFont typeface="Arial" panose="020B0604020202020204" pitchFamily="34" charset="0"/>
              <a:buNone/>
              <a:defRPr sz="1000">
                <a:latin typeface="+mj-lt"/>
              </a:defRPr>
            </a:lvl5pPr>
          </a:lstStyle>
          <a:p>
            <a:pPr lvl="0"/>
            <a:r>
              <a:rPr lang="en-US"/>
              <a:t>Add supporting caption for images or diagrams ▲</a:t>
            </a:r>
          </a:p>
        </p:txBody>
      </p:sp>
      <p:cxnSp>
        <p:nvCxnSpPr>
          <p:cNvPr id="11" name="Straight Connector 10">
            <a:extLst>
              <a:ext uri="{FF2B5EF4-FFF2-40B4-BE49-F238E27FC236}">
                <a16:creationId xmlns:a16="http://schemas.microsoft.com/office/drawing/2014/main" id="{912F1A23-2FB0-4130-A2FF-259BFB6E4D44}"/>
              </a:ext>
            </a:extLst>
          </p:cNvPr>
          <p:cNvCxnSpPr>
            <a:cxnSpLocks/>
          </p:cNvCxnSpPr>
          <p:nvPr userDrawn="1"/>
        </p:nvCxnSpPr>
        <p:spPr>
          <a:xfrm>
            <a:off x="10099276" y="4712775"/>
            <a:ext cx="173200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82940270"/>
      </p:ext>
    </p:extLst>
  </p:cSld>
  <p:clrMapOvr>
    <a:masterClrMapping/>
  </p:clrMapOvr>
  <p:extLst>
    <p:ext uri="{DCECCB84-F9BA-43D5-87BE-67443E8EF086}">
      <p15:sldGuideLst xmlns:p15="http://schemas.microsoft.com/office/powerpoint/2012/main">
        <p15:guide id="1" orient="horz" pos="170" userDrawn="1">
          <p15:clr>
            <a:srgbClr val="717275"/>
          </p15:clr>
        </p15:guide>
        <p15:guide id="2" orient="horz" pos="762" userDrawn="1">
          <p15:clr>
            <a:srgbClr val="717275"/>
          </p15:clr>
        </p15:guide>
        <p15:guide id="3" orient="horz" pos="1133" userDrawn="1">
          <p15:clr>
            <a:srgbClr val="FF96FF"/>
          </p15:clr>
        </p15:guide>
        <p15:guide id="4" orient="horz" pos="3753" userDrawn="1">
          <p15:clr>
            <a:srgbClr val="FF96FF"/>
          </p15:clr>
        </p15:guide>
        <p15:guide id="5" pos="226" userDrawn="1">
          <p15:clr>
            <a:srgbClr val="FF96FF"/>
          </p15:clr>
        </p15:guide>
        <p15:guide id="6" pos="7453" userDrawn="1">
          <p15:clr>
            <a:srgbClr val="FF96FF"/>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Dot Screen Picture and Caption Left">
    <p:spTree>
      <p:nvGrpSpPr>
        <p:cNvPr id="1" name=""/>
        <p:cNvGrpSpPr/>
        <p:nvPr/>
      </p:nvGrpSpPr>
      <p:grpSpPr>
        <a:xfrm>
          <a:off x="0" y="0"/>
          <a:ext cx="0" cy="0"/>
          <a:chOff x="0" y="0"/>
          <a:chExt cx="0" cy="0"/>
        </a:xfrm>
      </p:grpSpPr>
      <p:sp>
        <p:nvSpPr>
          <p:cNvPr id="6" name="Guides" hidden="1">
            <a:extLst>
              <a:ext uri="{FF2B5EF4-FFF2-40B4-BE49-F238E27FC236}">
                <a16:creationId xmlns:a16="http://schemas.microsoft.com/office/drawing/2014/main" id="{53DE0FE0-6D29-4965-A5CE-ABC21AEA398E}"/>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8" name="Text Placeholder 16">
            <a:extLst>
              <a:ext uri="{FF2B5EF4-FFF2-40B4-BE49-F238E27FC236}">
                <a16:creationId xmlns:a16="http://schemas.microsoft.com/office/drawing/2014/main" id="{FBB49A15-B275-43D0-A0CB-A5A482CA9DC5}"/>
              </a:ext>
            </a:extLst>
          </p:cNvPr>
          <p:cNvSpPr>
            <a:spLocks noGrp="1"/>
          </p:cNvSpPr>
          <p:nvPr>
            <p:ph type="body" sz="quarter" idx="17" hasCustomPrompt="1"/>
          </p:nvPr>
        </p:nvSpPr>
        <p:spPr>
          <a:xfrm>
            <a:off x="358775" y="435711"/>
            <a:ext cx="1732000" cy="4081575"/>
          </a:xfrm>
        </p:spPr>
        <p:txBody>
          <a:bodyPr/>
          <a:lstStyle>
            <a:lvl1pPr marL="0" indent="0">
              <a:buFont typeface="Arial" panose="020B0604020202020204" pitchFamily="34" charset="0"/>
              <a:buNone/>
              <a:defRPr sz="1000">
                <a:latin typeface="Arial Black" panose="020B0A04020102020204" pitchFamily="34" charset="0"/>
              </a:defRPr>
            </a:lvl1pPr>
            <a:lvl2pPr marL="0" indent="0">
              <a:buFont typeface="Arial" panose="020B0604020202020204" pitchFamily="34" charset="0"/>
              <a:buNone/>
              <a:defRPr sz="1000">
                <a:latin typeface="+mj-lt"/>
              </a:defRPr>
            </a:lvl2pPr>
            <a:lvl3pPr marL="0" indent="0">
              <a:buFont typeface="Arial" panose="020B0604020202020204" pitchFamily="34" charset="0"/>
              <a:buNone/>
              <a:defRPr sz="1000">
                <a:latin typeface="+mj-lt"/>
              </a:defRPr>
            </a:lvl3pPr>
            <a:lvl4pPr marL="0" indent="0">
              <a:buFont typeface="Arial" panose="020B0604020202020204" pitchFamily="34" charset="0"/>
              <a:buNone/>
              <a:defRPr sz="1000">
                <a:latin typeface="+mj-lt"/>
              </a:defRPr>
            </a:lvl4pPr>
            <a:lvl5pPr marL="0" indent="0">
              <a:buFont typeface="Arial" panose="020B0604020202020204" pitchFamily="34" charset="0"/>
              <a:buNone/>
              <a:defRPr sz="1000">
                <a:latin typeface="+mj-lt"/>
              </a:defRPr>
            </a:lvl5pPr>
          </a:lstStyle>
          <a:p>
            <a:pPr lvl="0"/>
            <a:r>
              <a:rPr lang="en-US"/>
              <a:t>Add supporting caption for images or diagrams ►</a:t>
            </a:r>
          </a:p>
        </p:txBody>
      </p:sp>
      <p:sp>
        <p:nvSpPr>
          <p:cNvPr id="296" name="Picture Placeholder 295">
            <a:extLst>
              <a:ext uri="{FF2B5EF4-FFF2-40B4-BE49-F238E27FC236}">
                <a16:creationId xmlns:a16="http://schemas.microsoft.com/office/drawing/2014/main" id="{41AB6888-D532-42E9-A06A-F92BB8985544}"/>
              </a:ext>
            </a:extLst>
          </p:cNvPr>
          <p:cNvSpPr>
            <a:spLocks noGrp="1"/>
          </p:cNvSpPr>
          <p:nvPr>
            <p:ph type="pic" sz="quarter" idx="18" hasCustomPrompt="1"/>
          </p:nvPr>
        </p:nvSpPr>
        <p:spPr>
          <a:xfrm>
            <a:off x="2580845" y="352425"/>
            <a:ext cx="9611155" cy="6505574"/>
          </a:xfrm>
          <a:custGeom>
            <a:avLst/>
            <a:gdLst>
              <a:gd name="connsiteX0" fmla="*/ 1169593 w 9907829"/>
              <a:gd name="connsiteY0" fmla="*/ 6629618 h 6706386"/>
              <a:gd name="connsiteX1" fmla="*/ 1309450 w 9907829"/>
              <a:gd name="connsiteY1" fmla="*/ 6687585 h 6706386"/>
              <a:gd name="connsiteX2" fmla="*/ 1322130 w 9907829"/>
              <a:gd name="connsiteY2" fmla="*/ 6706386 h 6706386"/>
              <a:gd name="connsiteX3" fmla="*/ 1017056 w 9907829"/>
              <a:gd name="connsiteY3" fmla="*/ 6706386 h 6706386"/>
              <a:gd name="connsiteX4" fmla="*/ 1029737 w 9907829"/>
              <a:gd name="connsiteY4" fmla="*/ 6687585 h 6706386"/>
              <a:gd name="connsiteX5" fmla="*/ 1169593 w 9907829"/>
              <a:gd name="connsiteY5" fmla="*/ 6629618 h 6706386"/>
              <a:gd name="connsiteX6" fmla="*/ 55237 w 9907829"/>
              <a:gd name="connsiteY6" fmla="*/ 6215347 h 6706386"/>
              <a:gd name="connsiteX7" fmla="*/ 55307 w 9907829"/>
              <a:gd name="connsiteY7" fmla="*/ 6215361 h 6706386"/>
              <a:gd name="connsiteX8" fmla="*/ 76965 w 9907829"/>
              <a:gd name="connsiteY8" fmla="*/ 6219732 h 6706386"/>
              <a:gd name="connsiteX9" fmla="*/ 110472 w 9907829"/>
              <a:gd name="connsiteY9" fmla="*/ 6270583 h 6706386"/>
              <a:gd name="connsiteX10" fmla="*/ 55237 w 9907829"/>
              <a:gd name="connsiteY10" fmla="*/ 6325821 h 6706386"/>
              <a:gd name="connsiteX11" fmla="*/ 33871 w 9907829"/>
              <a:gd name="connsiteY11" fmla="*/ 6321525 h 6706386"/>
              <a:gd name="connsiteX12" fmla="*/ 33795 w 9907829"/>
              <a:gd name="connsiteY12" fmla="*/ 6321474 h 6706386"/>
              <a:gd name="connsiteX13" fmla="*/ 33600 w 9907829"/>
              <a:gd name="connsiteY13" fmla="*/ 6321435 h 6706386"/>
              <a:gd name="connsiteX14" fmla="*/ 24284 w 9907829"/>
              <a:gd name="connsiteY14" fmla="*/ 6315109 h 6706386"/>
              <a:gd name="connsiteX15" fmla="*/ 16299 w 9907829"/>
              <a:gd name="connsiteY15" fmla="*/ 6309763 h 6706386"/>
              <a:gd name="connsiteX16" fmla="*/ 16253 w 9907829"/>
              <a:gd name="connsiteY16" fmla="*/ 6309654 h 6706386"/>
              <a:gd name="connsiteX17" fmla="*/ 16058 w 9907829"/>
              <a:gd name="connsiteY17" fmla="*/ 6309523 h 6706386"/>
              <a:gd name="connsiteX18" fmla="*/ 0 w 9907829"/>
              <a:gd name="connsiteY18" fmla="*/ 6270583 h 6706386"/>
              <a:gd name="connsiteX19" fmla="*/ 16058 w 9907829"/>
              <a:gd name="connsiteY19" fmla="*/ 6231646 h 6706386"/>
              <a:gd name="connsiteX20" fmla="*/ 16253 w 9907829"/>
              <a:gd name="connsiteY20" fmla="*/ 6231513 h 6706386"/>
              <a:gd name="connsiteX21" fmla="*/ 16299 w 9907829"/>
              <a:gd name="connsiteY21" fmla="*/ 6231404 h 6706386"/>
              <a:gd name="connsiteX22" fmla="*/ 24276 w 9907829"/>
              <a:gd name="connsiteY22" fmla="*/ 6226065 h 6706386"/>
              <a:gd name="connsiteX23" fmla="*/ 33600 w 9907829"/>
              <a:gd name="connsiteY23" fmla="*/ 6219732 h 6706386"/>
              <a:gd name="connsiteX24" fmla="*/ 33795 w 9907829"/>
              <a:gd name="connsiteY24" fmla="*/ 6219693 h 6706386"/>
              <a:gd name="connsiteX25" fmla="*/ 33871 w 9907829"/>
              <a:gd name="connsiteY25" fmla="*/ 6219642 h 6706386"/>
              <a:gd name="connsiteX26" fmla="*/ 55202 w 9907829"/>
              <a:gd name="connsiteY26" fmla="*/ 6215355 h 6706386"/>
              <a:gd name="connsiteX27" fmla="*/ 612736 w 9907829"/>
              <a:gd name="connsiteY27" fmla="*/ 6148550 h 6706386"/>
              <a:gd name="connsiteX28" fmla="*/ 734770 w 9907829"/>
              <a:gd name="connsiteY28" fmla="*/ 6270583 h 6706386"/>
              <a:gd name="connsiteX29" fmla="*/ 612736 w 9907829"/>
              <a:gd name="connsiteY29" fmla="*/ 6392617 h 6706386"/>
              <a:gd name="connsiteX30" fmla="*/ 490703 w 9907829"/>
              <a:gd name="connsiteY30" fmla="*/ 6270583 h 6706386"/>
              <a:gd name="connsiteX31" fmla="*/ 612736 w 9907829"/>
              <a:gd name="connsiteY31" fmla="*/ 6148550 h 6706386"/>
              <a:gd name="connsiteX32" fmla="*/ 1169594 w 9907829"/>
              <a:gd name="connsiteY32" fmla="*/ 6059273 h 6706386"/>
              <a:gd name="connsiteX33" fmla="*/ 1380904 w 9907829"/>
              <a:gd name="connsiteY33" fmla="*/ 6270583 h 6706386"/>
              <a:gd name="connsiteX34" fmla="*/ 1380838 w 9907829"/>
              <a:gd name="connsiteY34" fmla="*/ 6270905 h 6706386"/>
              <a:gd name="connsiteX35" fmla="*/ 1380904 w 9907829"/>
              <a:gd name="connsiteY35" fmla="*/ 6271227 h 6706386"/>
              <a:gd name="connsiteX36" fmla="*/ 1169594 w 9907829"/>
              <a:gd name="connsiteY36" fmla="*/ 6482537 h 6706386"/>
              <a:gd name="connsiteX37" fmla="*/ 958283 w 9907829"/>
              <a:gd name="connsiteY37" fmla="*/ 6271227 h 6706386"/>
              <a:gd name="connsiteX38" fmla="*/ 958349 w 9907829"/>
              <a:gd name="connsiteY38" fmla="*/ 6270905 h 6706386"/>
              <a:gd name="connsiteX39" fmla="*/ 958283 w 9907829"/>
              <a:gd name="connsiteY39" fmla="*/ 6270583 h 6706386"/>
              <a:gd name="connsiteX40" fmla="*/ 1169594 w 9907829"/>
              <a:gd name="connsiteY40" fmla="*/ 6059273 h 6706386"/>
              <a:gd name="connsiteX41" fmla="*/ 55237 w 9907829"/>
              <a:gd name="connsiteY41" fmla="*/ 5658490 h 6706386"/>
              <a:gd name="connsiteX42" fmla="*/ 55274 w 9907829"/>
              <a:gd name="connsiteY42" fmla="*/ 5658497 h 6706386"/>
              <a:gd name="connsiteX43" fmla="*/ 76604 w 9907829"/>
              <a:gd name="connsiteY43" fmla="*/ 5662785 h 6706386"/>
              <a:gd name="connsiteX44" fmla="*/ 76679 w 9907829"/>
              <a:gd name="connsiteY44" fmla="*/ 5662836 h 6706386"/>
              <a:gd name="connsiteX45" fmla="*/ 76875 w 9907829"/>
              <a:gd name="connsiteY45" fmla="*/ 5662875 h 6706386"/>
              <a:gd name="connsiteX46" fmla="*/ 86311 w 9907829"/>
              <a:gd name="connsiteY46" fmla="*/ 5669282 h 6706386"/>
              <a:gd name="connsiteX47" fmla="*/ 94175 w 9907829"/>
              <a:gd name="connsiteY47" fmla="*/ 5674547 h 6706386"/>
              <a:gd name="connsiteX48" fmla="*/ 94219 w 9907829"/>
              <a:gd name="connsiteY48" fmla="*/ 5674653 h 6706386"/>
              <a:gd name="connsiteX49" fmla="*/ 94417 w 9907829"/>
              <a:gd name="connsiteY49" fmla="*/ 5674787 h 6706386"/>
              <a:gd name="connsiteX50" fmla="*/ 110472 w 9907829"/>
              <a:gd name="connsiteY50" fmla="*/ 5713725 h 6706386"/>
              <a:gd name="connsiteX51" fmla="*/ 94417 w 9907829"/>
              <a:gd name="connsiteY51" fmla="*/ 5752664 h 6706386"/>
              <a:gd name="connsiteX52" fmla="*/ 94219 w 9907829"/>
              <a:gd name="connsiteY52" fmla="*/ 5752798 h 6706386"/>
              <a:gd name="connsiteX53" fmla="*/ 94175 w 9907829"/>
              <a:gd name="connsiteY53" fmla="*/ 5752904 h 6706386"/>
              <a:gd name="connsiteX54" fmla="*/ 86269 w 9907829"/>
              <a:gd name="connsiteY54" fmla="*/ 5758197 h 6706386"/>
              <a:gd name="connsiteX55" fmla="*/ 76874 w 9907829"/>
              <a:gd name="connsiteY55" fmla="*/ 5764576 h 6706386"/>
              <a:gd name="connsiteX56" fmla="*/ 76679 w 9907829"/>
              <a:gd name="connsiteY56" fmla="*/ 5764616 h 6706386"/>
              <a:gd name="connsiteX57" fmla="*/ 76604 w 9907829"/>
              <a:gd name="connsiteY57" fmla="*/ 5764666 h 6706386"/>
              <a:gd name="connsiteX58" fmla="*/ 55237 w 9907829"/>
              <a:gd name="connsiteY58" fmla="*/ 5768962 h 6706386"/>
              <a:gd name="connsiteX59" fmla="*/ 33871 w 9907829"/>
              <a:gd name="connsiteY59" fmla="*/ 5764666 h 6706386"/>
              <a:gd name="connsiteX60" fmla="*/ 33795 w 9907829"/>
              <a:gd name="connsiteY60" fmla="*/ 5764616 h 6706386"/>
              <a:gd name="connsiteX61" fmla="*/ 33600 w 9907829"/>
              <a:gd name="connsiteY61" fmla="*/ 5764576 h 6706386"/>
              <a:gd name="connsiteX62" fmla="*/ 24251 w 9907829"/>
              <a:gd name="connsiteY62" fmla="*/ 5758228 h 6706386"/>
              <a:gd name="connsiteX63" fmla="*/ 16299 w 9907829"/>
              <a:gd name="connsiteY63" fmla="*/ 5752904 h 6706386"/>
              <a:gd name="connsiteX64" fmla="*/ 16255 w 9907829"/>
              <a:gd name="connsiteY64" fmla="*/ 5752797 h 6706386"/>
              <a:gd name="connsiteX65" fmla="*/ 16058 w 9907829"/>
              <a:gd name="connsiteY65" fmla="*/ 5752664 h 6706386"/>
              <a:gd name="connsiteX66" fmla="*/ 0 w 9907829"/>
              <a:gd name="connsiteY66" fmla="*/ 5713725 h 6706386"/>
              <a:gd name="connsiteX67" fmla="*/ 16058 w 9907829"/>
              <a:gd name="connsiteY67" fmla="*/ 5674787 h 6706386"/>
              <a:gd name="connsiteX68" fmla="*/ 16255 w 9907829"/>
              <a:gd name="connsiteY68" fmla="*/ 5674654 h 6706386"/>
              <a:gd name="connsiteX69" fmla="*/ 16299 w 9907829"/>
              <a:gd name="connsiteY69" fmla="*/ 5674547 h 6706386"/>
              <a:gd name="connsiteX70" fmla="*/ 24238 w 9907829"/>
              <a:gd name="connsiteY70" fmla="*/ 5669234 h 6706386"/>
              <a:gd name="connsiteX71" fmla="*/ 33600 w 9907829"/>
              <a:gd name="connsiteY71" fmla="*/ 5662875 h 6706386"/>
              <a:gd name="connsiteX72" fmla="*/ 33795 w 9907829"/>
              <a:gd name="connsiteY72" fmla="*/ 5662836 h 6706386"/>
              <a:gd name="connsiteX73" fmla="*/ 33871 w 9907829"/>
              <a:gd name="connsiteY73" fmla="*/ 5662785 h 6706386"/>
              <a:gd name="connsiteX74" fmla="*/ 55202 w 9907829"/>
              <a:gd name="connsiteY74" fmla="*/ 5658497 h 6706386"/>
              <a:gd name="connsiteX75" fmla="*/ 612736 w 9907829"/>
              <a:gd name="connsiteY75" fmla="*/ 5590407 h 6706386"/>
              <a:gd name="connsiteX76" fmla="*/ 736054 w 9907829"/>
              <a:gd name="connsiteY76" fmla="*/ 5713725 h 6706386"/>
              <a:gd name="connsiteX77" fmla="*/ 612736 w 9907829"/>
              <a:gd name="connsiteY77" fmla="*/ 5837044 h 6706386"/>
              <a:gd name="connsiteX78" fmla="*/ 489419 w 9907829"/>
              <a:gd name="connsiteY78" fmla="*/ 5713725 h 6706386"/>
              <a:gd name="connsiteX79" fmla="*/ 612736 w 9907829"/>
              <a:gd name="connsiteY79" fmla="*/ 5590407 h 6706386"/>
              <a:gd name="connsiteX80" fmla="*/ 1163664 w 9907829"/>
              <a:gd name="connsiteY80" fmla="*/ 5500788 h 6706386"/>
              <a:gd name="connsiteX81" fmla="*/ 1168703 w 9907829"/>
              <a:gd name="connsiteY81" fmla="*/ 5501137 h 6706386"/>
              <a:gd name="connsiteX82" fmla="*/ 1169494 w 9907829"/>
              <a:gd name="connsiteY82" fmla="*/ 5500982 h 6706386"/>
              <a:gd name="connsiteX83" fmla="*/ 1171160 w 9907829"/>
              <a:gd name="connsiteY83" fmla="*/ 5501306 h 6706386"/>
              <a:gd name="connsiteX84" fmla="*/ 1205348 w 9907829"/>
              <a:gd name="connsiteY84" fmla="*/ 5503673 h 6706386"/>
              <a:gd name="connsiteX85" fmla="*/ 1228727 w 9907829"/>
              <a:gd name="connsiteY85" fmla="*/ 5512507 h 6706386"/>
              <a:gd name="connsiteX86" fmla="*/ 1249493 w 9907829"/>
              <a:gd name="connsiteY86" fmla="*/ 5516548 h 6706386"/>
              <a:gd name="connsiteX87" fmla="*/ 1262800 w 9907829"/>
              <a:gd name="connsiteY87" fmla="*/ 5525385 h 6706386"/>
              <a:gd name="connsiteX88" fmla="*/ 1281583 w 9907829"/>
              <a:gd name="connsiteY88" fmla="*/ 5532483 h 6706386"/>
              <a:gd name="connsiteX89" fmla="*/ 1302288 w 9907829"/>
              <a:gd name="connsiteY89" fmla="*/ 5551608 h 6706386"/>
              <a:gd name="connsiteX90" fmla="*/ 1319819 w 9907829"/>
              <a:gd name="connsiteY90" fmla="*/ 5563249 h 6706386"/>
              <a:gd name="connsiteX91" fmla="*/ 1327634 w 9907829"/>
              <a:gd name="connsiteY91" fmla="*/ 5575016 h 6706386"/>
              <a:gd name="connsiteX92" fmla="*/ 1341451 w 9907829"/>
              <a:gd name="connsiteY92" fmla="*/ 5587778 h 6706386"/>
              <a:gd name="connsiteX93" fmla="*/ 1353491 w 9907829"/>
              <a:gd name="connsiteY93" fmla="*/ 5613955 h 6706386"/>
              <a:gd name="connsiteX94" fmla="*/ 1366520 w 9907829"/>
              <a:gd name="connsiteY94" fmla="*/ 5633576 h 6706386"/>
              <a:gd name="connsiteX95" fmla="*/ 1369458 w 9907829"/>
              <a:gd name="connsiteY95" fmla="*/ 5648668 h 6706386"/>
              <a:gd name="connsiteX96" fmla="*/ 1376727 w 9907829"/>
              <a:gd name="connsiteY96" fmla="*/ 5664474 h 6706386"/>
              <a:gd name="connsiteX97" fmla="*/ 1377574 w 9907829"/>
              <a:gd name="connsiteY97" fmla="*/ 5690377 h 6706386"/>
              <a:gd name="connsiteX98" fmla="*/ 1382088 w 9907829"/>
              <a:gd name="connsiteY98" fmla="*/ 5713576 h 6706386"/>
              <a:gd name="connsiteX99" fmla="*/ 1378872 w 9907829"/>
              <a:gd name="connsiteY99" fmla="*/ 5730102 h 6706386"/>
              <a:gd name="connsiteX100" fmla="*/ 1379484 w 9907829"/>
              <a:gd name="connsiteY100" fmla="*/ 5748846 h 6706386"/>
              <a:gd name="connsiteX101" fmla="*/ 1370703 w 9907829"/>
              <a:gd name="connsiteY101" fmla="*/ 5772081 h 6706386"/>
              <a:gd name="connsiteX102" fmla="*/ 1366520 w 9907829"/>
              <a:gd name="connsiteY102" fmla="*/ 5793574 h 6706386"/>
              <a:gd name="connsiteX103" fmla="*/ 1357375 w 9907829"/>
              <a:gd name="connsiteY103" fmla="*/ 5807346 h 6706386"/>
              <a:gd name="connsiteX104" fmla="*/ 1350673 w 9907829"/>
              <a:gd name="connsiteY104" fmla="*/ 5825080 h 6706386"/>
              <a:gd name="connsiteX105" fmla="*/ 1332617 w 9907829"/>
              <a:gd name="connsiteY105" fmla="*/ 5844631 h 6706386"/>
              <a:gd name="connsiteX106" fmla="*/ 1319819 w 9907829"/>
              <a:gd name="connsiteY106" fmla="*/ 5863902 h 6706386"/>
              <a:gd name="connsiteX107" fmla="*/ 1306885 w 9907829"/>
              <a:gd name="connsiteY107" fmla="*/ 5872491 h 6706386"/>
              <a:gd name="connsiteX108" fmla="*/ 1295378 w 9907829"/>
              <a:gd name="connsiteY108" fmla="*/ 5884949 h 6706386"/>
              <a:gd name="connsiteX109" fmla="*/ 1271775 w 9907829"/>
              <a:gd name="connsiteY109" fmla="*/ 5895806 h 6706386"/>
              <a:gd name="connsiteX110" fmla="*/ 1249493 w 9907829"/>
              <a:gd name="connsiteY110" fmla="*/ 5910602 h 6706386"/>
              <a:gd name="connsiteX111" fmla="*/ 1232357 w 9907829"/>
              <a:gd name="connsiteY111" fmla="*/ 5913937 h 6706386"/>
              <a:gd name="connsiteX112" fmla="*/ 1218684 w 9907829"/>
              <a:gd name="connsiteY112" fmla="*/ 5920225 h 6706386"/>
              <a:gd name="connsiteX113" fmla="*/ 1175995 w 9907829"/>
              <a:gd name="connsiteY113" fmla="*/ 5925867 h 6706386"/>
              <a:gd name="connsiteX114" fmla="*/ 1172342 w 9907829"/>
              <a:gd name="connsiteY114" fmla="*/ 5925615 h 6706386"/>
              <a:gd name="connsiteX115" fmla="*/ 1169494 w 9907829"/>
              <a:gd name="connsiteY115" fmla="*/ 5926168 h 6706386"/>
              <a:gd name="connsiteX116" fmla="*/ 1163502 w 9907829"/>
              <a:gd name="connsiteY116" fmla="*/ 5925002 h 6706386"/>
              <a:gd name="connsiteX117" fmla="*/ 1134312 w 9907829"/>
              <a:gd name="connsiteY117" fmla="*/ 5922982 h 6706386"/>
              <a:gd name="connsiteX118" fmla="*/ 1114348 w 9907829"/>
              <a:gd name="connsiteY118" fmla="*/ 5915438 h 6706386"/>
              <a:gd name="connsiteX119" fmla="*/ 1089495 w 9907829"/>
              <a:gd name="connsiteY119" fmla="*/ 5910602 h 6706386"/>
              <a:gd name="connsiteX120" fmla="*/ 1073571 w 9907829"/>
              <a:gd name="connsiteY120" fmla="*/ 5900026 h 6706386"/>
              <a:gd name="connsiteX121" fmla="*/ 1058076 w 9907829"/>
              <a:gd name="connsiteY121" fmla="*/ 5894170 h 6706386"/>
              <a:gd name="connsiteX122" fmla="*/ 1040996 w 9907829"/>
              <a:gd name="connsiteY122" fmla="*/ 5878397 h 6706386"/>
              <a:gd name="connsiteX123" fmla="*/ 1019168 w 9907829"/>
              <a:gd name="connsiteY123" fmla="*/ 5863901 h 6706386"/>
              <a:gd name="connsiteX124" fmla="*/ 1009439 w 9907829"/>
              <a:gd name="connsiteY124" fmla="*/ 5849250 h 6706386"/>
              <a:gd name="connsiteX125" fmla="*/ 998208 w 9907829"/>
              <a:gd name="connsiteY125" fmla="*/ 5838876 h 6706386"/>
              <a:gd name="connsiteX126" fmla="*/ 988420 w 9907829"/>
              <a:gd name="connsiteY126" fmla="*/ 5817597 h 6706386"/>
              <a:gd name="connsiteX127" fmla="*/ 972468 w 9907829"/>
              <a:gd name="connsiteY127" fmla="*/ 5793574 h 6706386"/>
              <a:gd name="connsiteX128" fmla="*/ 968872 w 9907829"/>
              <a:gd name="connsiteY128" fmla="*/ 5775098 h 6706386"/>
              <a:gd name="connsiteX129" fmla="*/ 962932 w 9907829"/>
              <a:gd name="connsiteY129" fmla="*/ 5762182 h 6706386"/>
              <a:gd name="connsiteX130" fmla="*/ 962240 w 9907829"/>
              <a:gd name="connsiteY130" fmla="*/ 5741014 h 6706386"/>
              <a:gd name="connsiteX131" fmla="*/ 956901 w 9907829"/>
              <a:gd name="connsiteY131" fmla="*/ 5713576 h 6706386"/>
              <a:gd name="connsiteX132" fmla="*/ 960705 w 9907829"/>
              <a:gd name="connsiteY132" fmla="*/ 5694026 h 6706386"/>
              <a:gd name="connsiteX133" fmla="*/ 960175 w 9907829"/>
              <a:gd name="connsiteY133" fmla="*/ 5677809 h 6706386"/>
              <a:gd name="connsiteX134" fmla="*/ 967773 w 9907829"/>
              <a:gd name="connsiteY134" fmla="*/ 5657705 h 6706386"/>
              <a:gd name="connsiteX135" fmla="*/ 972468 w 9907829"/>
              <a:gd name="connsiteY135" fmla="*/ 5633577 h 6706386"/>
              <a:gd name="connsiteX136" fmla="*/ 982734 w 9907829"/>
              <a:gd name="connsiteY136" fmla="*/ 5618115 h 6706386"/>
              <a:gd name="connsiteX137" fmla="*/ 988986 w 9907829"/>
              <a:gd name="connsiteY137" fmla="*/ 5601574 h 6706386"/>
              <a:gd name="connsiteX138" fmla="*/ 1005827 w 9907829"/>
              <a:gd name="connsiteY138" fmla="*/ 5583340 h 6706386"/>
              <a:gd name="connsiteX139" fmla="*/ 1019168 w 9907829"/>
              <a:gd name="connsiteY139" fmla="*/ 5563249 h 6706386"/>
              <a:gd name="connsiteX140" fmla="*/ 1032653 w 9907829"/>
              <a:gd name="connsiteY140" fmla="*/ 5554295 h 6706386"/>
              <a:gd name="connsiteX141" fmla="*/ 1044281 w 9907829"/>
              <a:gd name="connsiteY141" fmla="*/ 5541705 h 6706386"/>
              <a:gd name="connsiteX142" fmla="*/ 1068135 w 9907829"/>
              <a:gd name="connsiteY142" fmla="*/ 5530733 h 6706386"/>
              <a:gd name="connsiteX143" fmla="*/ 1089496 w 9907829"/>
              <a:gd name="connsiteY143" fmla="*/ 5516549 h 6706386"/>
              <a:gd name="connsiteX144" fmla="*/ 1105926 w 9907829"/>
              <a:gd name="connsiteY144" fmla="*/ 5513352 h 6706386"/>
              <a:gd name="connsiteX145" fmla="*/ 1120975 w 9907829"/>
              <a:gd name="connsiteY145" fmla="*/ 5506430 h 6706386"/>
              <a:gd name="connsiteX146" fmla="*/ 1163664 w 9907829"/>
              <a:gd name="connsiteY146" fmla="*/ 5500788 h 6706386"/>
              <a:gd name="connsiteX147" fmla="*/ 55236 w 9907829"/>
              <a:gd name="connsiteY147" fmla="*/ 5103558 h 6706386"/>
              <a:gd name="connsiteX148" fmla="*/ 108546 w 9907829"/>
              <a:gd name="connsiteY148" fmla="*/ 5156867 h 6706386"/>
              <a:gd name="connsiteX149" fmla="*/ 55236 w 9907829"/>
              <a:gd name="connsiteY149" fmla="*/ 5210177 h 6706386"/>
              <a:gd name="connsiteX150" fmla="*/ 1928 w 9907829"/>
              <a:gd name="connsiteY150" fmla="*/ 5156867 h 6706386"/>
              <a:gd name="connsiteX151" fmla="*/ 55236 w 9907829"/>
              <a:gd name="connsiteY151" fmla="*/ 5103558 h 6706386"/>
              <a:gd name="connsiteX152" fmla="*/ 612737 w 9907829"/>
              <a:gd name="connsiteY152" fmla="*/ 5039330 h 6706386"/>
              <a:gd name="connsiteX153" fmla="*/ 729632 w 9907829"/>
              <a:gd name="connsiteY153" fmla="*/ 5156225 h 6706386"/>
              <a:gd name="connsiteX154" fmla="*/ 729567 w 9907829"/>
              <a:gd name="connsiteY154" fmla="*/ 5156546 h 6706386"/>
              <a:gd name="connsiteX155" fmla="*/ 729632 w 9907829"/>
              <a:gd name="connsiteY155" fmla="*/ 5156868 h 6706386"/>
              <a:gd name="connsiteX156" fmla="*/ 612737 w 9907829"/>
              <a:gd name="connsiteY156" fmla="*/ 5273763 h 6706386"/>
              <a:gd name="connsiteX157" fmla="*/ 495841 w 9907829"/>
              <a:gd name="connsiteY157" fmla="*/ 5156868 h 6706386"/>
              <a:gd name="connsiteX158" fmla="*/ 495906 w 9907829"/>
              <a:gd name="connsiteY158" fmla="*/ 5156546 h 6706386"/>
              <a:gd name="connsiteX159" fmla="*/ 495841 w 9907829"/>
              <a:gd name="connsiteY159" fmla="*/ 5156225 h 6706386"/>
              <a:gd name="connsiteX160" fmla="*/ 612737 w 9907829"/>
              <a:gd name="connsiteY160" fmla="*/ 5039330 h 6706386"/>
              <a:gd name="connsiteX161" fmla="*/ 1169613 w 9907829"/>
              <a:gd name="connsiteY161" fmla="*/ 4950499 h 6706386"/>
              <a:gd name="connsiteX162" fmla="*/ 1195685 w 9907829"/>
              <a:gd name="connsiteY162" fmla="*/ 4955573 h 6706386"/>
              <a:gd name="connsiteX163" fmla="*/ 1216778 w 9907829"/>
              <a:gd name="connsiteY163" fmla="*/ 4956262 h 6706386"/>
              <a:gd name="connsiteX164" fmla="*/ 1229649 w 9907829"/>
              <a:gd name="connsiteY164" fmla="*/ 4962181 h 6706386"/>
              <a:gd name="connsiteX165" fmla="*/ 1247196 w 9907829"/>
              <a:gd name="connsiteY165" fmla="*/ 4965595 h 6706386"/>
              <a:gd name="connsiteX166" fmla="*/ 1270009 w 9907829"/>
              <a:gd name="connsiteY166" fmla="*/ 4980745 h 6706386"/>
              <a:gd name="connsiteX167" fmla="*/ 1291155 w 9907829"/>
              <a:gd name="connsiteY167" fmla="*/ 4990472 h 6706386"/>
              <a:gd name="connsiteX168" fmla="*/ 1301465 w 9907829"/>
              <a:gd name="connsiteY168" fmla="*/ 5001633 h 6706386"/>
              <a:gd name="connsiteX169" fmla="*/ 1315397 w 9907829"/>
              <a:gd name="connsiteY169" fmla="*/ 5010885 h 6706386"/>
              <a:gd name="connsiteX170" fmla="*/ 1329181 w 9907829"/>
              <a:gd name="connsiteY170" fmla="*/ 5031642 h 6706386"/>
              <a:gd name="connsiteX171" fmla="*/ 1344780 w 9907829"/>
              <a:gd name="connsiteY171" fmla="*/ 5048532 h 6706386"/>
              <a:gd name="connsiteX172" fmla="*/ 1350571 w 9907829"/>
              <a:gd name="connsiteY172" fmla="*/ 5063854 h 6706386"/>
              <a:gd name="connsiteX173" fmla="*/ 1360687 w 9907829"/>
              <a:gd name="connsiteY173" fmla="*/ 5079086 h 6706386"/>
              <a:gd name="connsiteX174" fmla="*/ 1365312 w 9907829"/>
              <a:gd name="connsiteY174" fmla="*/ 5102861 h 6706386"/>
              <a:gd name="connsiteX175" fmla="*/ 1372721 w 9907829"/>
              <a:gd name="connsiteY175" fmla="*/ 5122463 h 6706386"/>
              <a:gd name="connsiteX176" fmla="*/ 1372204 w 9907829"/>
              <a:gd name="connsiteY176" fmla="*/ 5138277 h 6706386"/>
              <a:gd name="connsiteX177" fmla="*/ 1375783 w 9907829"/>
              <a:gd name="connsiteY177" fmla="*/ 5156669 h 6706386"/>
              <a:gd name="connsiteX178" fmla="*/ 1370760 w 9907829"/>
              <a:gd name="connsiteY178" fmla="*/ 5182484 h 6706386"/>
              <a:gd name="connsiteX179" fmla="*/ 1370047 w 9907829"/>
              <a:gd name="connsiteY179" fmla="*/ 5204287 h 6706386"/>
              <a:gd name="connsiteX180" fmla="*/ 1363928 w 9907829"/>
              <a:gd name="connsiteY180" fmla="*/ 5217591 h 6706386"/>
              <a:gd name="connsiteX181" fmla="*/ 1360687 w 9907829"/>
              <a:gd name="connsiteY181" fmla="*/ 5234251 h 6706386"/>
              <a:gd name="connsiteX182" fmla="*/ 1346303 w 9907829"/>
              <a:gd name="connsiteY182" fmla="*/ 5255911 h 6706386"/>
              <a:gd name="connsiteX183" fmla="*/ 1335838 w 9907829"/>
              <a:gd name="connsiteY183" fmla="*/ 5278665 h 6706386"/>
              <a:gd name="connsiteX184" fmla="*/ 1323828 w 9907829"/>
              <a:gd name="connsiteY184" fmla="*/ 5289757 h 6706386"/>
              <a:gd name="connsiteX185" fmla="*/ 1315397 w 9907829"/>
              <a:gd name="connsiteY185" fmla="*/ 5302453 h 6706386"/>
              <a:gd name="connsiteX186" fmla="*/ 1296482 w 9907829"/>
              <a:gd name="connsiteY186" fmla="*/ 5315014 h 6706386"/>
              <a:gd name="connsiteX187" fmla="*/ 1277778 w 9907829"/>
              <a:gd name="connsiteY187" fmla="*/ 5332289 h 6706386"/>
              <a:gd name="connsiteX188" fmla="*/ 1260811 w 9907829"/>
              <a:gd name="connsiteY188" fmla="*/ 5338701 h 6706386"/>
              <a:gd name="connsiteX189" fmla="*/ 1247196 w 9907829"/>
              <a:gd name="connsiteY189" fmla="*/ 5347742 h 6706386"/>
              <a:gd name="connsiteX190" fmla="*/ 1225945 w 9907829"/>
              <a:gd name="connsiteY190" fmla="*/ 5351877 h 6706386"/>
              <a:gd name="connsiteX191" fmla="*/ 1203846 w 9907829"/>
              <a:gd name="connsiteY191" fmla="*/ 5360229 h 6706386"/>
              <a:gd name="connsiteX192" fmla="*/ 1186017 w 9907829"/>
              <a:gd name="connsiteY192" fmla="*/ 5359647 h 6706386"/>
              <a:gd name="connsiteX193" fmla="*/ 1169613 w 9907829"/>
              <a:gd name="connsiteY193" fmla="*/ 5362838 h 6706386"/>
              <a:gd name="connsiteX194" fmla="*/ 1146587 w 9907829"/>
              <a:gd name="connsiteY194" fmla="*/ 5358358 h 6706386"/>
              <a:gd name="connsiteX195" fmla="*/ 1122022 w 9907829"/>
              <a:gd name="connsiteY195" fmla="*/ 5357556 h 6706386"/>
              <a:gd name="connsiteX196" fmla="*/ 1107032 w 9907829"/>
              <a:gd name="connsiteY196" fmla="*/ 5350662 h 6706386"/>
              <a:gd name="connsiteX197" fmla="*/ 1092031 w 9907829"/>
              <a:gd name="connsiteY197" fmla="*/ 5347742 h 6706386"/>
              <a:gd name="connsiteX198" fmla="*/ 1072527 w 9907829"/>
              <a:gd name="connsiteY198" fmla="*/ 5334791 h 6706386"/>
              <a:gd name="connsiteX199" fmla="*/ 1047644 w 9907829"/>
              <a:gd name="connsiteY199" fmla="*/ 5323346 h 6706386"/>
              <a:gd name="connsiteX200" fmla="*/ 1035514 w 9907829"/>
              <a:gd name="connsiteY200" fmla="*/ 5310212 h 6706386"/>
              <a:gd name="connsiteX201" fmla="*/ 1023829 w 9907829"/>
              <a:gd name="connsiteY201" fmla="*/ 5302453 h 6706386"/>
              <a:gd name="connsiteX202" fmla="*/ 1012269 w 9907829"/>
              <a:gd name="connsiteY202" fmla="*/ 5285044 h 6706386"/>
              <a:gd name="connsiteX203" fmla="*/ 994020 w 9907829"/>
              <a:gd name="connsiteY203" fmla="*/ 5265285 h 6706386"/>
              <a:gd name="connsiteX204" fmla="*/ 987246 w 9907829"/>
              <a:gd name="connsiteY204" fmla="*/ 5247363 h 6706386"/>
              <a:gd name="connsiteX205" fmla="*/ 978540 w 9907829"/>
              <a:gd name="connsiteY205" fmla="*/ 5234251 h 6706386"/>
              <a:gd name="connsiteX206" fmla="*/ 974558 w 9907829"/>
              <a:gd name="connsiteY206" fmla="*/ 5213789 h 6706386"/>
              <a:gd name="connsiteX207" fmla="*/ 966080 w 9907829"/>
              <a:gd name="connsiteY207" fmla="*/ 5191355 h 6706386"/>
              <a:gd name="connsiteX208" fmla="*/ 966671 w 9907829"/>
              <a:gd name="connsiteY208" fmla="*/ 5173257 h 6706386"/>
              <a:gd name="connsiteX209" fmla="*/ 963444 w 9907829"/>
              <a:gd name="connsiteY209" fmla="*/ 5156669 h 6706386"/>
              <a:gd name="connsiteX210" fmla="*/ 967974 w 9907829"/>
              <a:gd name="connsiteY210" fmla="*/ 5133385 h 6706386"/>
              <a:gd name="connsiteX211" fmla="*/ 968753 w 9907829"/>
              <a:gd name="connsiteY211" fmla="*/ 5109531 h 6706386"/>
              <a:gd name="connsiteX212" fmla="*/ 976245 w 9907829"/>
              <a:gd name="connsiteY212" fmla="*/ 5090879 h 6706386"/>
              <a:gd name="connsiteX213" fmla="*/ 978540 w 9907829"/>
              <a:gd name="connsiteY213" fmla="*/ 5079086 h 6706386"/>
              <a:gd name="connsiteX214" fmla="*/ 984720 w 9907829"/>
              <a:gd name="connsiteY214" fmla="*/ 5069781 h 6706386"/>
              <a:gd name="connsiteX215" fmla="*/ 991864 w 9907829"/>
              <a:gd name="connsiteY215" fmla="*/ 5051994 h 6706386"/>
              <a:gd name="connsiteX216" fmla="*/ 1017963 w 9907829"/>
              <a:gd name="connsiteY216" fmla="*/ 5019720 h 6706386"/>
              <a:gd name="connsiteX217" fmla="*/ 1023829 w 9907829"/>
              <a:gd name="connsiteY217" fmla="*/ 5010885 h 6706386"/>
              <a:gd name="connsiteX218" fmla="*/ 1026588 w 9907829"/>
              <a:gd name="connsiteY218" fmla="*/ 5009053 h 6706386"/>
              <a:gd name="connsiteX219" fmla="*/ 1029511 w 9907829"/>
              <a:gd name="connsiteY219" fmla="*/ 5005438 h 6706386"/>
              <a:gd name="connsiteX220" fmla="*/ 1078330 w 9907829"/>
              <a:gd name="connsiteY220" fmla="*/ 4971943 h 6706386"/>
              <a:gd name="connsiteX221" fmla="*/ 1086423 w 9907829"/>
              <a:gd name="connsiteY221" fmla="*/ 4969319 h 6706386"/>
              <a:gd name="connsiteX222" fmla="*/ 1092031 w 9907829"/>
              <a:gd name="connsiteY222" fmla="*/ 4965595 h 6706386"/>
              <a:gd name="connsiteX223" fmla="*/ 1106743 w 9907829"/>
              <a:gd name="connsiteY223" fmla="*/ 4962733 h 6706386"/>
              <a:gd name="connsiteX224" fmla="*/ 1134954 w 9907829"/>
              <a:gd name="connsiteY224" fmla="*/ 4953588 h 6706386"/>
              <a:gd name="connsiteX225" fmla="*/ 1151038 w 9907829"/>
              <a:gd name="connsiteY225" fmla="*/ 4954113 h 6706386"/>
              <a:gd name="connsiteX226" fmla="*/ 55236 w 9907829"/>
              <a:gd name="connsiteY226" fmla="*/ 4551839 h 6706386"/>
              <a:gd name="connsiteX227" fmla="*/ 102766 w 9907829"/>
              <a:gd name="connsiteY227" fmla="*/ 4599368 h 6706386"/>
              <a:gd name="connsiteX228" fmla="*/ 102633 w 9907829"/>
              <a:gd name="connsiteY228" fmla="*/ 4599689 h 6706386"/>
              <a:gd name="connsiteX229" fmla="*/ 102766 w 9907829"/>
              <a:gd name="connsiteY229" fmla="*/ 4600011 h 6706386"/>
              <a:gd name="connsiteX230" fmla="*/ 55236 w 9907829"/>
              <a:gd name="connsiteY230" fmla="*/ 4647540 h 6706386"/>
              <a:gd name="connsiteX231" fmla="*/ 7709 w 9907829"/>
              <a:gd name="connsiteY231" fmla="*/ 4600011 h 6706386"/>
              <a:gd name="connsiteX232" fmla="*/ 7841 w 9907829"/>
              <a:gd name="connsiteY232" fmla="*/ 4599690 h 6706386"/>
              <a:gd name="connsiteX233" fmla="*/ 7709 w 9907829"/>
              <a:gd name="connsiteY233" fmla="*/ 4599368 h 6706386"/>
              <a:gd name="connsiteX234" fmla="*/ 55236 w 9907829"/>
              <a:gd name="connsiteY234" fmla="*/ 4551839 h 6706386"/>
              <a:gd name="connsiteX235" fmla="*/ 612736 w 9907829"/>
              <a:gd name="connsiteY235" fmla="*/ 4495318 h 6706386"/>
              <a:gd name="connsiteX236" fmla="*/ 716785 w 9907829"/>
              <a:gd name="connsiteY236" fmla="*/ 4599368 h 6706386"/>
              <a:gd name="connsiteX237" fmla="*/ 716721 w 9907829"/>
              <a:gd name="connsiteY237" fmla="*/ 4599689 h 6706386"/>
              <a:gd name="connsiteX238" fmla="*/ 716785 w 9907829"/>
              <a:gd name="connsiteY238" fmla="*/ 4600011 h 6706386"/>
              <a:gd name="connsiteX239" fmla="*/ 612736 w 9907829"/>
              <a:gd name="connsiteY239" fmla="*/ 4704060 h 6706386"/>
              <a:gd name="connsiteX240" fmla="*/ 508686 w 9907829"/>
              <a:gd name="connsiteY240" fmla="*/ 4600011 h 6706386"/>
              <a:gd name="connsiteX241" fmla="*/ 508751 w 9907829"/>
              <a:gd name="connsiteY241" fmla="*/ 4599689 h 6706386"/>
              <a:gd name="connsiteX242" fmla="*/ 508686 w 9907829"/>
              <a:gd name="connsiteY242" fmla="*/ 4599368 h 6706386"/>
              <a:gd name="connsiteX243" fmla="*/ 612736 w 9907829"/>
              <a:gd name="connsiteY243" fmla="*/ 4495318 h 6706386"/>
              <a:gd name="connsiteX244" fmla="*/ 1169593 w 9907829"/>
              <a:gd name="connsiteY244" fmla="*/ 4413107 h 6706386"/>
              <a:gd name="connsiteX245" fmla="*/ 1355855 w 9907829"/>
              <a:gd name="connsiteY245" fmla="*/ 4599368 h 6706386"/>
              <a:gd name="connsiteX246" fmla="*/ 1355790 w 9907829"/>
              <a:gd name="connsiteY246" fmla="*/ 4599689 h 6706386"/>
              <a:gd name="connsiteX247" fmla="*/ 1355855 w 9907829"/>
              <a:gd name="connsiteY247" fmla="*/ 4600009 h 6706386"/>
              <a:gd name="connsiteX248" fmla="*/ 1169593 w 9907829"/>
              <a:gd name="connsiteY248" fmla="*/ 4786271 h 6706386"/>
              <a:gd name="connsiteX249" fmla="*/ 983332 w 9907829"/>
              <a:gd name="connsiteY249" fmla="*/ 4600009 h 6706386"/>
              <a:gd name="connsiteX250" fmla="*/ 983398 w 9907829"/>
              <a:gd name="connsiteY250" fmla="*/ 4599689 h 6706386"/>
              <a:gd name="connsiteX251" fmla="*/ 983332 w 9907829"/>
              <a:gd name="connsiteY251" fmla="*/ 4599368 h 6706386"/>
              <a:gd name="connsiteX252" fmla="*/ 1169593 w 9907829"/>
              <a:gd name="connsiteY252" fmla="*/ 4413107 h 6706386"/>
              <a:gd name="connsiteX253" fmla="*/ 55236 w 9907829"/>
              <a:gd name="connsiteY253" fmla="*/ 4004616 h 6706386"/>
              <a:gd name="connsiteX254" fmla="*/ 93132 w 9907829"/>
              <a:gd name="connsiteY254" fmla="*/ 4042511 h 6706386"/>
              <a:gd name="connsiteX255" fmla="*/ 92996 w 9907829"/>
              <a:gd name="connsiteY255" fmla="*/ 4042831 h 6706386"/>
              <a:gd name="connsiteX256" fmla="*/ 93132 w 9907829"/>
              <a:gd name="connsiteY256" fmla="*/ 4043152 h 6706386"/>
              <a:gd name="connsiteX257" fmla="*/ 55236 w 9907829"/>
              <a:gd name="connsiteY257" fmla="*/ 4081047 h 6706386"/>
              <a:gd name="connsiteX258" fmla="*/ 17342 w 9907829"/>
              <a:gd name="connsiteY258" fmla="*/ 4043152 h 6706386"/>
              <a:gd name="connsiteX259" fmla="*/ 17479 w 9907829"/>
              <a:gd name="connsiteY259" fmla="*/ 4042833 h 6706386"/>
              <a:gd name="connsiteX260" fmla="*/ 17342 w 9907829"/>
              <a:gd name="connsiteY260" fmla="*/ 4042511 h 6706386"/>
              <a:gd name="connsiteX261" fmla="*/ 55236 w 9907829"/>
              <a:gd name="connsiteY261" fmla="*/ 4004616 h 6706386"/>
              <a:gd name="connsiteX262" fmla="*/ 612736 w 9907829"/>
              <a:gd name="connsiteY262" fmla="*/ 3957728 h 6706386"/>
              <a:gd name="connsiteX263" fmla="*/ 697517 w 9907829"/>
              <a:gd name="connsiteY263" fmla="*/ 4042509 h 6706386"/>
              <a:gd name="connsiteX264" fmla="*/ 697452 w 9907829"/>
              <a:gd name="connsiteY264" fmla="*/ 4042830 h 6706386"/>
              <a:gd name="connsiteX265" fmla="*/ 697517 w 9907829"/>
              <a:gd name="connsiteY265" fmla="*/ 4043152 h 6706386"/>
              <a:gd name="connsiteX266" fmla="*/ 612736 w 9907829"/>
              <a:gd name="connsiteY266" fmla="*/ 4127933 h 6706386"/>
              <a:gd name="connsiteX267" fmla="*/ 527955 w 9907829"/>
              <a:gd name="connsiteY267" fmla="*/ 4043152 h 6706386"/>
              <a:gd name="connsiteX268" fmla="*/ 528019 w 9907829"/>
              <a:gd name="connsiteY268" fmla="*/ 4042830 h 6706386"/>
              <a:gd name="connsiteX269" fmla="*/ 527955 w 9907829"/>
              <a:gd name="connsiteY269" fmla="*/ 4042509 h 6706386"/>
              <a:gd name="connsiteX270" fmla="*/ 612736 w 9907829"/>
              <a:gd name="connsiteY270" fmla="*/ 3957728 h 6706386"/>
              <a:gd name="connsiteX271" fmla="*/ 1169594 w 9907829"/>
              <a:gd name="connsiteY271" fmla="*/ 3880655 h 6706386"/>
              <a:gd name="connsiteX272" fmla="*/ 1331449 w 9907829"/>
              <a:gd name="connsiteY272" fmla="*/ 4042511 h 6706386"/>
              <a:gd name="connsiteX273" fmla="*/ 1331384 w 9907829"/>
              <a:gd name="connsiteY273" fmla="*/ 4042831 h 6706386"/>
              <a:gd name="connsiteX274" fmla="*/ 1331449 w 9907829"/>
              <a:gd name="connsiteY274" fmla="*/ 4043153 h 6706386"/>
              <a:gd name="connsiteX275" fmla="*/ 1169594 w 9907829"/>
              <a:gd name="connsiteY275" fmla="*/ 4205007 h 6706386"/>
              <a:gd name="connsiteX276" fmla="*/ 1007739 w 9907829"/>
              <a:gd name="connsiteY276" fmla="*/ 4043153 h 6706386"/>
              <a:gd name="connsiteX277" fmla="*/ 1007805 w 9907829"/>
              <a:gd name="connsiteY277" fmla="*/ 4042831 h 6706386"/>
              <a:gd name="connsiteX278" fmla="*/ 1007739 w 9907829"/>
              <a:gd name="connsiteY278" fmla="*/ 4042511 h 6706386"/>
              <a:gd name="connsiteX279" fmla="*/ 1169594 w 9907829"/>
              <a:gd name="connsiteY279" fmla="*/ 3880655 h 6706386"/>
              <a:gd name="connsiteX280" fmla="*/ 612736 w 9907829"/>
              <a:gd name="connsiteY280" fmla="*/ 3420142 h 6706386"/>
              <a:gd name="connsiteX281" fmla="*/ 678891 w 9907829"/>
              <a:gd name="connsiteY281" fmla="*/ 3486296 h 6706386"/>
              <a:gd name="connsiteX282" fmla="*/ 678891 w 9907829"/>
              <a:gd name="connsiteY282" fmla="*/ 3486300 h 6706386"/>
              <a:gd name="connsiteX283" fmla="*/ 678891 w 9907829"/>
              <a:gd name="connsiteY283" fmla="*/ 3486302 h 6706386"/>
              <a:gd name="connsiteX284" fmla="*/ 612736 w 9907829"/>
              <a:gd name="connsiteY284" fmla="*/ 3551814 h 6706386"/>
              <a:gd name="connsiteX285" fmla="*/ 546581 w 9907829"/>
              <a:gd name="connsiteY285" fmla="*/ 3486302 h 6706386"/>
              <a:gd name="connsiteX286" fmla="*/ 546582 w 9907829"/>
              <a:gd name="connsiteY286" fmla="*/ 3486300 h 6706386"/>
              <a:gd name="connsiteX287" fmla="*/ 546581 w 9907829"/>
              <a:gd name="connsiteY287" fmla="*/ 3486296 h 6706386"/>
              <a:gd name="connsiteX288" fmla="*/ 546680 w 9907829"/>
              <a:gd name="connsiteY288" fmla="*/ 3485811 h 6706386"/>
              <a:gd name="connsiteX289" fmla="*/ 551769 w 9907829"/>
              <a:gd name="connsiteY289" fmla="*/ 3460250 h 6706386"/>
              <a:gd name="connsiteX290" fmla="*/ 586954 w 9907829"/>
              <a:gd name="connsiteY290" fmla="*/ 3425244 h 6706386"/>
              <a:gd name="connsiteX291" fmla="*/ 611347 w 9907829"/>
              <a:gd name="connsiteY291" fmla="*/ 3420421 h 6706386"/>
              <a:gd name="connsiteX292" fmla="*/ 1169593 w 9907829"/>
              <a:gd name="connsiteY292" fmla="*/ 3357198 h 6706386"/>
              <a:gd name="connsiteX293" fmla="*/ 1219471 w 9907829"/>
              <a:gd name="connsiteY293" fmla="*/ 3367244 h 6706386"/>
              <a:gd name="connsiteX294" fmla="*/ 1219560 w 9907829"/>
              <a:gd name="connsiteY294" fmla="*/ 3367304 h 6706386"/>
              <a:gd name="connsiteX295" fmla="*/ 1219741 w 9907829"/>
              <a:gd name="connsiteY295" fmla="*/ 3367341 h 6706386"/>
              <a:gd name="connsiteX296" fmla="*/ 1240198 w 9907829"/>
              <a:gd name="connsiteY296" fmla="*/ 3381172 h 6706386"/>
              <a:gd name="connsiteX297" fmla="*/ 1260316 w 9907829"/>
              <a:gd name="connsiteY297" fmla="*/ 3394691 h 6706386"/>
              <a:gd name="connsiteX298" fmla="*/ 1260421 w 9907829"/>
              <a:gd name="connsiteY298" fmla="*/ 3394846 h 6706386"/>
              <a:gd name="connsiteX299" fmla="*/ 1260556 w 9907829"/>
              <a:gd name="connsiteY299" fmla="*/ 3394939 h 6706386"/>
              <a:gd name="connsiteX300" fmla="*/ 1272451 w 9907829"/>
              <a:gd name="connsiteY300" fmla="*/ 3412638 h 6706386"/>
              <a:gd name="connsiteX301" fmla="*/ 1287914 w 9907829"/>
              <a:gd name="connsiteY301" fmla="*/ 3435505 h 6706386"/>
              <a:gd name="connsiteX302" fmla="*/ 1287956 w 9907829"/>
              <a:gd name="connsiteY302" fmla="*/ 3435710 h 6706386"/>
              <a:gd name="connsiteX303" fmla="*/ 1288005 w 9907829"/>
              <a:gd name="connsiteY303" fmla="*/ 3435783 h 6706386"/>
              <a:gd name="connsiteX304" fmla="*/ 1297800 w 9907829"/>
              <a:gd name="connsiteY304" fmla="*/ 3484414 h 6706386"/>
              <a:gd name="connsiteX305" fmla="*/ 1298050 w 9907829"/>
              <a:gd name="connsiteY305" fmla="*/ 3485654 h 6706386"/>
              <a:gd name="connsiteX306" fmla="*/ 1298050 w 9907829"/>
              <a:gd name="connsiteY306" fmla="*/ 3485657 h 6706386"/>
              <a:gd name="connsiteX307" fmla="*/ 1298050 w 9907829"/>
              <a:gd name="connsiteY307" fmla="*/ 3485659 h 6706386"/>
              <a:gd name="connsiteX308" fmla="*/ 1297801 w 9907829"/>
              <a:gd name="connsiteY308" fmla="*/ 3486892 h 6706386"/>
              <a:gd name="connsiteX309" fmla="*/ 1288005 w 9907829"/>
              <a:gd name="connsiteY309" fmla="*/ 3535531 h 6706386"/>
              <a:gd name="connsiteX310" fmla="*/ 1287955 w 9907829"/>
              <a:gd name="connsiteY310" fmla="*/ 3535604 h 6706386"/>
              <a:gd name="connsiteX311" fmla="*/ 1287914 w 9907829"/>
              <a:gd name="connsiteY311" fmla="*/ 3535806 h 6706386"/>
              <a:gd name="connsiteX312" fmla="*/ 1272620 w 9907829"/>
              <a:gd name="connsiteY312" fmla="*/ 3558425 h 6706386"/>
              <a:gd name="connsiteX313" fmla="*/ 1260556 w 9907829"/>
              <a:gd name="connsiteY313" fmla="*/ 3576375 h 6706386"/>
              <a:gd name="connsiteX314" fmla="*/ 1260419 w 9907829"/>
              <a:gd name="connsiteY314" fmla="*/ 3576469 h 6706386"/>
              <a:gd name="connsiteX315" fmla="*/ 1260316 w 9907829"/>
              <a:gd name="connsiteY315" fmla="*/ 3576620 h 6706386"/>
              <a:gd name="connsiteX316" fmla="*/ 1240760 w 9907829"/>
              <a:gd name="connsiteY316" fmla="*/ 3589763 h 6706386"/>
              <a:gd name="connsiteX317" fmla="*/ 1219741 w 9907829"/>
              <a:gd name="connsiteY317" fmla="*/ 3603973 h 6706386"/>
              <a:gd name="connsiteX318" fmla="*/ 1219554 w 9907829"/>
              <a:gd name="connsiteY318" fmla="*/ 3604012 h 6706386"/>
              <a:gd name="connsiteX319" fmla="*/ 1219471 w 9907829"/>
              <a:gd name="connsiteY319" fmla="*/ 3604067 h 6706386"/>
              <a:gd name="connsiteX320" fmla="*/ 1169593 w 9907829"/>
              <a:gd name="connsiteY320" fmla="*/ 3614112 h 6706386"/>
              <a:gd name="connsiteX321" fmla="*/ 1168035 w 9907829"/>
              <a:gd name="connsiteY321" fmla="*/ 3613798 h 6706386"/>
              <a:gd name="connsiteX322" fmla="*/ 1119355 w 9907829"/>
              <a:gd name="connsiteY322" fmla="*/ 3604063 h 6706386"/>
              <a:gd name="connsiteX323" fmla="*/ 1050912 w 9907829"/>
              <a:gd name="connsiteY323" fmla="*/ 3535803 h 6706386"/>
              <a:gd name="connsiteX324" fmla="*/ 1041163 w 9907829"/>
              <a:gd name="connsiteY324" fmla="*/ 3485790 h 6706386"/>
              <a:gd name="connsiteX325" fmla="*/ 1041137 w 9907829"/>
              <a:gd name="connsiteY325" fmla="*/ 3485659 h 6706386"/>
              <a:gd name="connsiteX326" fmla="*/ 1041138 w 9907829"/>
              <a:gd name="connsiteY326" fmla="*/ 3485657 h 6706386"/>
              <a:gd name="connsiteX327" fmla="*/ 1041137 w 9907829"/>
              <a:gd name="connsiteY327" fmla="*/ 3485654 h 6706386"/>
              <a:gd name="connsiteX328" fmla="*/ 1041163 w 9907829"/>
              <a:gd name="connsiteY328" fmla="*/ 3485523 h 6706386"/>
              <a:gd name="connsiteX329" fmla="*/ 1050912 w 9907829"/>
              <a:gd name="connsiteY329" fmla="*/ 3435511 h 6706386"/>
              <a:gd name="connsiteX330" fmla="*/ 1119355 w 9907829"/>
              <a:gd name="connsiteY330" fmla="*/ 3367250 h 6706386"/>
              <a:gd name="connsiteX331" fmla="*/ 1166602 w 9907829"/>
              <a:gd name="connsiteY331" fmla="*/ 3357803 h 6706386"/>
              <a:gd name="connsiteX332" fmla="*/ 1726451 w 9907829"/>
              <a:gd name="connsiteY332" fmla="*/ 3271775 h 6706386"/>
              <a:gd name="connsiteX333" fmla="*/ 1940331 w 9907829"/>
              <a:gd name="connsiteY333" fmla="*/ 3485654 h 6706386"/>
              <a:gd name="connsiteX334" fmla="*/ 1940331 w 9907829"/>
              <a:gd name="connsiteY334" fmla="*/ 3485657 h 6706386"/>
              <a:gd name="connsiteX335" fmla="*/ 1940331 w 9907829"/>
              <a:gd name="connsiteY335" fmla="*/ 3485659 h 6706386"/>
              <a:gd name="connsiteX336" fmla="*/ 1726451 w 9907829"/>
              <a:gd name="connsiteY336" fmla="*/ 3699535 h 6706386"/>
              <a:gd name="connsiteX337" fmla="*/ 1512572 w 9907829"/>
              <a:gd name="connsiteY337" fmla="*/ 3485659 h 6706386"/>
              <a:gd name="connsiteX338" fmla="*/ 1512573 w 9907829"/>
              <a:gd name="connsiteY338" fmla="*/ 3485657 h 6706386"/>
              <a:gd name="connsiteX339" fmla="*/ 1512572 w 9907829"/>
              <a:gd name="connsiteY339" fmla="*/ 3485654 h 6706386"/>
              <a:gd name="connsiteX340" fmla="*/ 1726451 w 9907829"/>
              <a:gd name="connsiteY340" fmla="*/ 3271775 h 6706386"/>
              <a:gd name="connsiteX341" fmla="*/ 612736 w 9907829"/>
              <a:gd name="connsiteY341" fmla="*/ 2881269 h 6706386"/>
              <a:gd name="connsiteX342" fmla="*/ 659622 w 9907829"/>
              <a:gd name="connsiteY342" fmla="*/ 2928156 h 6706386"/>
              <a:gd name="connsiteX343" fmla="*/ 659487 w 9907829"/>
              <a:gd name="connsiteY343" fmla="*/ 2928480 h 6706386"/>
              <a:gd name="connsiteX344" fmla="*/ 659622 w 9907829"/>
              <a:gd name="connsiteY344" fmla="*/ 2928804 h 6706386"/>
              <a:gd name="connsiteX345" fmla="*/ 612736 w 9907829"/>
              <a:gd name="connsiteY345" fmla="*/ 2975691 h 6706386"/>
              <a:gd name="connsiteX346" fmla="*/ 579659 w 9907829"/>
              <a:gd name="connsiteY346" fmla="*/ 2961882 h 6706386"/>
              <a:gd name="connsiteX347" fmla="*/ 579503 w 9907829"/>
              <a:gd name="connsiteY347" fmla="*/ 2961508 h 6706386"/>
              <a:gd name="connsiteX348" fmla="*/ 579417 w 9907829"/>
              <a:gd name="connsiteY348" fmla="*/ 2961474 h 6706386"/>
              <a:gd name="connsiteX349" fmla="*/ 576618 w 9907829"/>
              <a:gd name="connsiteY349" fmla="*/ 2954598 h 6706386"/>
              <a:gd name="connsiteX350" fmla="*/ 565849 w 9907829"/>
              <a:gd name="connsiteY350" fmla="*/ 2928804 h 6706386"/>
              <a:gd name="connsiteX351" fmla="*/ 565982 w 9907829"/>
              <a:gd name="connsiteY351" fmla="*/ 2928480 h 6706386"/>
              <a:gd name="connsiteX352" fmla="*/ 565849 w 9907829"/>
              <a:gd name="connsiteY352" fmla="*/ 2928156 h 6706386"/>
              <a:gd name="connsiteX353" fmla="*/ 612736 w 9907829"/>
              <a:gd name="connsiteY353" fmla="*/ 2881269 h 6706386"/>
              <a:gd name="connsiteX354" fmla="*/ 1169593 w 9907829"/>
              <a:gd name="connsiteY354" fmla="*/ 2834388 h 6706386"/>
              <a:gd name="connsiteX355" fmla="*/ 1263367 w 9907829"/>
              <a:gd name="connsiteY355" fmla="*/ 2928162 h 6706386"/>
              <a:gd name="connsiteX356" fmla="*/ 1263302 w 9907829"/>
              <a:gd name="connsiteY356" fmla="*/ 2928480 h 6706386"/>
              <a:gd name="connsiteX357" fmla="*/ 1263367 w 9907829"/>
              <a:gd name="connsiteY357" fmla="*/ 2928800 h 6706386"/>
              <a:gd name="connsiteX358" fmla="*/ 1169593 w 9907829"/>
              <a:gd name="connsiteY358" fmla="*/ 3022571 h 6706386"/>
              <a:gd name="connsiteX359" fmla="*/ 1075821 w 9907829"/>
              <a:gd name="connsiteY359" fmla="*/ 2928800 h 6706386"/>
              <a:gd name="connsiteX360" fmla="*/ 1075886 w 9907829"/>
              <a:gd name="connsiteY360" fmla="*/ 2928480 h 6706386"/>
              <a:gd name="connsiteX361" fmla="*/ 1075821 w 9907829"/>
              <a:gd name="connsiteY361" fmla="*/ 2928162 h 6706386"/>
              <a:gd name="connsiteX362" fmla="*/ 1169593 w 9907829"/>
              <a:gd name="connsiteY362" fmla="*/ 2834388 h 6706386"/>
              <a:gd name="connsiteX363" fmla="*/ 1726451 w 9907829"/>
              <a:gd name="connsiteY363" fmla="*/ 2766301 h 6706386"/>
              <a:gd name="connsiteX364" fmla="*/ 1888947 w 9907829"/>
              <a:gd name="connsiteY364" fmla="*/ 2928798 h 6706386"/>
              <a:gd name="connsiteX365" fmla="*/ 1888947 w 9907829"/>
              <a:gd name="connsiteY365" fmla="*/ 2928802 h 6706386"/>
              <a:gd name="connsiteX366" fmla="*/ 1888947 w 9907829"/>
              <a:gd name="connsiteY366" fmla="*/ 2928807 h 6706386"/>
              <a:gd name="connsiteX367" fmla="*/ 1726451 w 9907829"/>
              <a:gd name="connsiteY367" fmla="*/ 3091304 h 6706386"/>
              <a:gd name="connsiteX368" fmla="*/ 1563954 w 9907829"/>
              <a:gd name="connsiteY368" fmla="*/ 2928807 h 6706386"/>
              <a:gd name="connsiteX369" fmla="*/ 1563955 w 9907829"/>
              <a:gd name="connsiteY369" fmla="*/ 2928802 h 6706386"/>
              <a:gd name="connsiteX370" fmla="*/ 1563954 w 9907829"/>
              <a:gd name="connsiteY370" fmla="*/ 2928798 h 6706386"/>
              <a:gd name="connsiteX371" fmla="*/ 1726451 w 9907829"/>
              <a:gd name="connsiteY371" fmla="*/ 2766301 h 6706386"/>
              <a:gd name="connsiteX372" fmla="*/ 1169593 w 9907829"/>
              <a:gd name="connsiteY372" fmla="*/ 2310279 h 6706386"/>
              <a:gd name="connsiteX373" fmla="*/ 1230610 w 9907829"/>
              <a:gd name="connsiteY373" fmla="*/ 2371297 h 6706386"/>
              <a:gd name="connsiteX374" fmla="*/ 1230476 w 9907829"/>
              <a:gd name="connsiteY374" fmla="*/ 2371620 h 6706386"/>
              <a:gd name="connsiteX375" fmla="*/ 1230610 w 9907829"/>
              <a:gd name="connsiteY375" fmla="*/ 2371944 h 6706386"/>
              <a:gd name="connsiteX376" fmla="*/ 1169593 w 9907829"/>
              <a:gd name="connsiteY376" fmla="*/ 2432962 h 6706386"/>
              <a:gd name="connsiteX377" fmla="*/ 1108577 w 9907829"/>
              <a:gd name="connsiteY377" fmla="*/ 2371944 h 6706386"/>
              <a:gd name="connsiteX378" fmla="*/ 1108712 w 9907829"/>
              <a:gd name="connsiteY378" fmla="*/ 2371620 h 6706386"/>
              <a:gd name="connsiteX379" fmla="*/ 1108577 w 9907829"/>
              <a:gd name="connsiteY379" fmla="*/ 2371297 h 6706386"/>
              <a:gd name="connsiteX380" fmla="*/ 1169593 w 9907829"/>
              <a:gd name="connsiteY380" fmla="*/ 2310279 h 6706386"/>
              <a:gd name="connsiteX381" fmla="*/ 1726451 w 9907829"/>
              <a:gd name="connsiteY381" fmla="*/ 2253761 h 6706386"/>
              <a:gd name="connsiteX382" fmla="*/ 1843989 w 9907829"/>
              <a:gd name="connsiteY382" fmla="*/ 2371298 h 6706386"/>
              <a:gd name="connsiteX383" fmla="*/ 1843924 w 9907829"/>
              <a:gd name="connsiteY383" fmla="*/ 2371620 h 6706386"/>
              <a:gd name="connsiteX384" fmla="*/ 1843989 w 9907829"/>
              <a:gd name="connsiteY384" fmla="*/ 2371944 h 6706386"/>
              <a:gd name="connsiteX385" fmla="*/ 1726451 w 9907829"/>
              <a:gd name="connsiteY385" fmla="*/ 2489484 h 6706386"/>
              <a:gd name="connsiteX386" fmla="*/ 1608913 w 9907829"/>
              <a:gd name="connsiteY386" fmla="*/ 2371944 h 6706386"/>
              <a:gd name="connsiteX387" fmla="*/ 1608979 w 9907829"/>
              <a:gd name="connsiteY387" fmla="*/ 2371620 h 6706386"/>
              <a:gd name="connsiteX388" fmla="*/ 1608913 w 9907829"/>
              <a:gd name="connsiteY388" fmla="*/ 2371298 h 6706386"/>
              <a:gd name="connsiteX389" fmla="*/ 1726451 w 9907829"/>
              <a:gd name="connsiteY389" fmla="*/ 2253761 h 6706386"/>
              <a:gd name="connsiteX390" fmla="*/ 2283309 w 9907829"/>
              <a:gd name="connsiteY390" fmla="*/ 2185682 h 6706386"/>
              <a:gd name="connsiteX391" fmla="*/ 2468929 w 9907829"/>
              <a:gd name="connsiteY391" fmla="*/ 2371298 h 6706386"/>
              <a:gd name="connsiteX392" fmla="*/ 2468866 w 9907829"/>
              <a:gd name="connsiteY392" fmla="*/ 2371620 h 6706386"/>
              <a:gd name="connsiteX393" fmla="*/ 2468929 w 9907829"/>
              <a:gd name="connsiteY393" fmla="*/ 2371946 h 6706386"/>
              <a:gd name="connsiteX394" fmla="*/ 2283309 w 9907829"/>
              <a:gd name="connsiteY394" fmla="*/ 2557571 h 6706386"/>
              <a:gd name="connsiteX395" fmla="*/ 2097690 w 9907829"/>
              <a:gd name="connsiteY395" fmla="*/ 2371946 h 6706386"/>
              <a:gd name="connsiteX396" fmla="*/ 2097756 w 9907829"/>
              <a:gd name="connsiteY396" fmla="*/ 2371620 h 6706386"/>
              <a:gd name="connsiteX397" fmla="*/ 2097690 w 9907829"/>
              <a:gd name="connsiteY397" fmla="*/ 2371298 h 6706386"/>
              <a:gd name="connsiteX398" fmla="*/ 2283309 w 9907829"/>
              <a:gd name="connsiteY398" fmla="*/ 2185682 h 6706386"/>
              <a:gd name="connsiteX399" fmla="*/ 1169594 w 9907829"/>
              <a:gd name="connsiteY399" fmla="*/ 1778474 h 6706386"/>
              <a:gd name="connsiteX400" fmla="*/ 1205562 w 9907829"/>
              <a:gd name="connsiteY400" fmla="*/ 1814442 h 6706386"/>
              <a:gd name="connsiteX401" fmla="*/ 1205428 w 9907829"/>
              <a:gd name="connsiteY401" fmla="*/ 1814767 h 6706386"/>
              <a:gd name="connsiteX402" fmla="*/ 1205562 w 9907829"/>
              <a:gd name="connsiteY402" fmla="*/ 1815092 h 6706386"/>
              <a:gd name="connsiteX403" fmla="*/ 1169594 w 9907829"/>
              <a:gd name="connsiteY403" fmla="*/ 1851060 h 6706386"/>
              <a:gd name="connsiteX404" fmla="*/ 1133626 w 9907829"/>
              <a:gd name="connsiteY404" fmla="*/ 1815092 h 6706386"/>
              <a:gd name="connsiteX405" fmla="*/ 1133762 w 9907829"/>
              <a:gd name="connsiteY405" fmla="*/ 1814767 h 6706386"/>
              <a:gd name="connsiteX406" fmla="*/ 1133626 w 9907829"/>
              <a:gd name="connsiteY406" fmla="*/ 1814442 h 6706386"/>
              <a:gd name="connsiteX407" fmla="*/ 1169594 w 9907829"/>
              <a:gd name="connsiteY407" fmla="*/ 1778474 h 6706386"/>
              <a:gd name="connsiteX408" fmla="*/ 1726452 w 9907829"/>
              <a:gd name="connsiteY408" fmla="*/ 1741232 h 6706386"/>
              <a:gd name="connsiteX409" fmla="*/ 1799672 w 9907829"/>
              <a:gd name="connsiteY409" fmla="*/ 1814452 h 6706386"/>
              <a:gd name="connsiteX410" fmla="*/ 1799608 w 9907829"/>
              <a:gd name="connsiteY410" fmla="*/ 1814767 h 6706386"/>
              <a:gd name="connsiteX411" fmla="*/ 1799672 w 9907829"/>
              <a:gd name="connsiteY411" fmla="*/ 1815083 h 6706386"/>
              <a:gd name="connsiteX412" fmla="*/ 1726452 w 9907829"/>
              <a:gd name="connsiteY412" fmla="*/ 1888303 h 6706386"/>
              <a:gd name="connsiteX413" fmla="*/ 1653232 w 9907829"/>
              <a:gd name="connsiteY413" fmla="*/ 1815083 h 6706386"/>
              <a:gd name="connsiteX414" fmla="*/ 1653296 w 9907829"/>
              <a:gd name="connsiteY414" fmla="*/ 1814767 h 6706386"/>
              <a:gd name="connsiteX415" fmla="*/ 1653232 w 9907829"/>
              <a:gd name="connsiteY415" fmla="*/ 1814452 h 6706386"/>
              <a:gd name="connsiteX416" fmla="*/ 1726452 w 9907829"/>
              <a:gd name="connsiteY416" fmla="*/ 1741232 h 6706386"/>
              <a:gd name="connsiteX417" fmla="*/ 9907829 w 9907829"/>
              <a:gd name="connsiteY417" fmla="*/ 1731583 h 6706386"/>
              <a:gd name="connsiteX418" fmla="*/ 9907829 w 9907829"/>
              <a:gd name="connsiteY418" fmla="*/ 1898575 h 6706386"/>
              <a:gd name="connsiteX419" fmla="*/ 9888560 w 9907829"/>
              <a:gd name="connsiteY419" fmla="*/ 1815080 h 6706386"/>
              <a:gd name="connsiteX420" fmla="*/ 9907829 w 9907829"/>
              <a:gd name="connsiteY420" fmla="*/ 1731583 h 6706386"/>
              <a:gd name="connsiteX421" fmla="*/ 2283183 w 9907829"/>
              <a:gd name="connsiteY421" fmla="*/ 1688074 h 6706386"/>
              <a:gd name="connsiteX422" fmla="*/ 2372650 w 9907829"/>
              <a:gd name="connsiteY422" fmla="*/ 1725132 h 6706386"/>
              <a:gd name="connsiteX423" fmla="*/ 2409711 w 9907829"/>
              <a:gd name="connsiteY423" fmla="*/ 1814602 h 6706386"/>
              <a:gd name="connsiteX424" fmla="*/ 2409710 w 9907829"/>
              <a:gd name="connsiteY424" fmla="*/ 1814607 h 6706386"/>
              <a:gd name="connsiteX425" fmla="*/ 2409711 w 9907829"/>
              <a:gd name="connsiteY425" fmla="*/ 1814611 h 6706386"/>
              <a:gd name="connsiteX426" fmla="*/ 2372650 w 9907829"/>
              <a:gd name="connsiteY426" fmla="*/ 1904081 h 6706386"/>
              <a:gd name="connsiteX427" fmla="*/ 2193714 w 9907829"/>
              <a:gd name="connsiteY427" fmla="*/ 1904081 h 6706386"/>
              <a:gd name="connsiteX428" fmla="*/ 2156655 w 9907829"/>
              <a:gd name="connsiteY428" fmla="*/ 1814611 h 6706386"/>
              <a:gd name="connsiteX429" fmla="*/ 2156655 w 9907829"/>
              <a:gd name="connsiteY429" fmla="*/ 1814607 h 6706386"/>
              <a:gd name="connsiteX430" fmla="*/ 2156655 w 9907829"/>
              <a:gd name="connsiteY430" fmla="*/ 1814602 h 6706386"/>
              <a:gd name="connsiteX431" fmla="*/ 2193714 w 9907829"/>
              <a:gd name="connsiteY431" fmla="*/ 1725133 h 6706386"/>
              <a:gd name="connsiteX432" fmla="*/ 2283183 w 9907829"/>
              <a:gd name="connsiteY432" fmla="*/ 1688074 h 6706386"/>
              <a:gd name="connsiteX433" fmla="*/ 2840168 w 9907829"/>
              <a:gd name="connsiteY433" fmla="*/ 1624326 h 6706386"/>
              <a:gd name="connsiteX434" fmla="*/ 2859379 w 9907829"/>
              <a:gd name="connsiteY434" fmla="*/ 1628209 h 6706386"/>
              <a:gd name="connsiteX435" fmla="*/ 2914040 w 9907829"/>
              <a:gd name="connsiteY435" fmla="*/ 1639228 h 6706386"/>
              <a:gd name="connsiteX436" fmla="*/ 2914096 w 9907829"/>
              <a:gd name="connsiteY436" fmla="*/ 1639266 h 6706386"/>
              <a:gd name="connsiteX437" fmla="*/ 2914312 w 9907829"/>
              <a:gd name="connsiteY437" fmla="*/ 1639310 h 6706386"/>
              <a:gd name="connsiteX438" fmla="*/ 2950154 w 9907829"/>
              <a:gd name="connsiteY438" fmla="*/ 1663524 h 6706386"/>
              <a:gd name="connsiteX439" fmla="*/ 2974485 w 9907829"/>
              <a:gd name="connsiteY439" fmla="*/ 1679893 h 6706386"/>
              <a:gd name="connsiteX440" fmla="*/ 2974572 w 9907829"/>
              <a:gd name="connsiteY440" fmla="*/ 1680020 h 6706386"/>
              <a:gd name="connsiteX441" fmla="*/ 2974726 w 9907829"/>
              <a:gd name="connsiteY441" fmla="*/ 1680125 h 6706386"/>
              <a:gd name="connsiteX442" fmla="*/ 2994843 w 9907829"/>
              <a:gd name="connsiteY442" fmla="*/ 1710029 h 6706386"/>
              <a:gd name="connsiteX443" fmla="*/ 3015300 w 9907829"/>
              <a:gd name="connsiteY443" fmla="*/ 1740308 h 6706386"/>
              <a:gd name="connsiteX444" fmla="*/ 3015336 w 9907829"/>
              <a:gd name="connsiteY444" fmla="*/ 1740490 h 6706386"/>
              <a:gd name="connsiteX445" fmla="*/ 3015391 w 9907829"/>
              <a:gd name="connsiteY445" fmla="*/ 1740569 h 6706386"/>
              <a:gd name="connsiteX446" fmla="*/ 3030282 w 9907829"/>
              <a:gd name="connsiteY446" fmla="*/ 1814442 h 6706386"/>
              <a:gd name="connsiteX447" fmla="*/ 3030281 w 9907829"/>
              <a:gd name="connsiteY447" fmla="*/ 1814448 h 6706386"/>
              <a:gd name="connsiteX448" fmla="*/ 3030282 w 9907829"/>
              <a:gd name="connsiteY448" fmla="*/ 1814453 h 6706386"/>
              <a:gd name="connsiteX449" fmla="*/ 3015391 w 9907829"/>
              <a:gd name="connsiteY449" fmla="*/ 1888324 h 6706386"/>
              <a:gd name="connsiteX450" fmla="*/ 3015336 w 9907829"/>
              <a:gd name="connsiteY450" fmla="*/ 1888403 h 6706386"/>
              <a:gd name="connsiteX451" fmla="*/ 3015300 w 9907829"/>
              <a:gd name="connsiteY451" fmla="*/ 1888585 h 6706386"/>
              <a:gd name="connsiteX452" fmla="*/ 2994895 w 9907829"/>
              <a:gd name="connsiteY452" fmla="*/ 1918790 h 6706386"/>
              <a:gd name="connsiteX453" fmla="*/ 2974726 w 9907829"/>
              <a:gd name="connsiteY453" fmla="*/ 1948769 h 6706386"/>
              <a:gd name="connsiteX454" fmla="*/ 2974572 w 9907829"/>
              <a:gd name="connsiteY454" fmla="*/ 1948874 h 6706386"/>
              <a:gd name="connsiteX455" fmla="*/ 2974485 w 9907829"/>
              <a:gd name="connsiteY455" fmla="*/ 1948999 h 6706386"/>
              <a:gd name="connsiteX456" fmla="*/ 2950250 w 9907829"/>
              <a:gd name="connsiteY456" fmla="*/ 1965305 h 6706386"/>
              <a:gd name="connsiteX457" fmla="*/ 2914312 w 9907829"/>
              <a:gd name="connsiteY457" fmla="*/ 1989583 h 6706386"/>
              <a:gd name="connsiteX458" fmla="*/ 2914096 w 9907829"/>
              <a:gd name="connsiteY458" fmla="*/ 1989627 h 6706386"/>
              <a:gd name="connsiteX459" fmla="*/ 2914040 w 9907829"/>
              <a:gd name="connsiteY459" fmla="*/ 1989664 h 6706386"/>
              <a:gd name="connsiteX460" fmla="*/ 2859639 w 9907829"/>
              <a:gd name="connsiteY460" fmla="*/ 2000631 h 6706386"/>
              <a:gd name="connsiteX461" fmla="*/ 2840168 w 9907829"/>
              <a:gd name="connsiteY461" fmla="*/ 2004566 h 6706386"/>
              <a:gd name="connsiteX462" fmla="*/ 2650053 w 9907829"/>
              <a:gd name="connsiteY462" fmla="*/ 1814453 h 6706386"/>
              <a:gd name="connsiteX463" fmla="*/ 2650055 w 9907829"/>
              <a:gd name="connsiteY463" fmla="*/ 1814448 h 6706386"/>
              <a:gd name="connsiteX464" fmla="*/ 2650053 w 9907829"/>
              <a:gd name="connsiteY464" fmla="*/ 1814442 h 6706386"/>
              <a:gd name="connsiteX465" fmla="*/ 2840168 w 9907829"/>
              <a:gd name="connsiteY465" fmla="*/ 1624326 h 6706386"/>
              <a:gd name="connsiteX466" fmla="*/ 1726452 w 9907829"/>
              <a:gd name="connsiteY466" fmla="*/ 1217762 h 6706386"/>
              <a:gd name="connsiteX467" fmla="*/ 1766273 w 9907829"/>
              <a:gd name="connsiteY467" fmla="*/ 1257583 h 6706386"/>
              <a:gd name="connsiteX468" fmla="*/ 1766272 w 9907829"/>
              <a:gd name="connsiteY468" fmla="*/ 1257587 h 6706386"/>
              <a:gd name="connsiteX469" fmla="*/ 1766273 w 9907829"/>
              <a:gd name="connsiteY469" fmla="*/ 1257592 h 6706386"/>
              <a:gd name="connsiteX470" fmla="*/ 1726452 w 9907829"/>
              <a:gd name="connsiteY470" fmla="*/ 1297412 h 6706386"/>
              <a:gd name="connsiteX471" fmla="*/ 1686631 w 9907829"/>
              <a:gd name="connsiteY471" fmla="*/ 1257592 h 6706386"/>
              <a:gd name="connsiteX472" fmla="*/ 1686633 w 9907829"/>
              <a:gd name="connsiteY472" fmla="*/ 1257587 h 6706386"/>
              <a:gd name="connsiteX473" fmla="*/ 1686631 w 9907829"/>
              <a:gd name="connsiteY473" fmla="*/ 1257583 h 6706386"/>
              <a:gd name="connsiteX474" fmla="*/ 1726452 w 9907829"/>
              <a:gd name="connsiteY474" fmla="*/ 1217762 h 6706386"/>
              <a:gd name="connsiteX475" fmla="*/ 2283309 w 9907829"/>
              <a:gd name="connsiteY475" fmla="*/ 1183722 h 6706386"/>
              <a:gd name="connsiteX476" fmla="*/ 2289931 w 9907829"/>
              <a:gd name="connsiteY476" fmla="*/ 1185063 h 6706386"/>
              <a:gd name="connsiteX477" fmla="*/ 2311921 w 9907829"/>
              <a:gd name="connsiteY477" fmla="*/ 1189491 h 6706386"/>
              <a:gd name="connsiteX478" fmla="*/ 2311979 w 9907829"/>
              <a:gd name="connsiteY478" fmla="*/ 1189530 h 6706386"/>
              <a:gd name="connsiteX479" fmla="*/ 2312191 w 9907829"/>
              <a:gd name="connsiteY479" fmla="*/ 1189572 h 6706386"/>
              <a:gd name="connsiteX480" fmla="*/ 2325865 w 9907829"/>
              <a:gd name="connsiteY480" fmla="*/ 1198842 h 6706386"/>
              <a:gd name="connsiteX481" fmla="*/ 2335415 w 9907829"/>
              <a:gd name="connsiteY481" fmla="*/ 1205247 h 6706386"/>
              <a:gd name="connsiteX482" fmla="*/ 2335503 w 9907829"/>
              <a:gd name="connsiteY482" fmla="*/ 1205376 h 6706386"/>
              <a:gd name="connsiteX483" fmla="*/ 2335655 w 9907829"/>
              <a:gd name="connsiteY483" fmla="*/ 1205479 h 6706386"/>
              <a:gd name="connsiteX484" fmla="*/ 2343315 w 9907829"/>
              <a:gd name="connsiteY484" fmla="*/ 1216902 h 6706386"/>
              <a:gd name="connsiteX485" fmla="*/ 2351320 w 9907829"/>
              <a:gd name="connsiteY485" fmla="*/ 1228711 h 6706386"/>
              <a:gd name="connsiteX486" fmla="*/ 2351358 w 9907829"/>
              <a:gd name="connsiteY486" fmla="*/ 1228894 h 6706386"/>
              <a:gd name="connsiteX487" fmla="*/ 2351411 w 9907829"/>
              <a:gd name="connsiteY487" fmla="*/ 1228973 h 6706386"/>
              <a:gd name="connsiteX488" fmla="*/ 2357170 w 9907829"/>
              <a:gd name="connsiteY488" fmla="*/ 1257585 h 6706386"/>
              <a:gd name="connsiteX489" fmla="*/ 2357170 w 9907829"/>
              <a:gd name="connsiteY489" fmla="*/ 1257589 h 6706386"/>
              <a:gd name="connsiteX490" fmla="*/ 2357170 w 9907829"/>
              <a:gd name="connsiteY490" fmla="*/ 1257593 h 6706386"/>
              <a:gd name="connsiteX491" fmla="*/ 2351411 w 9907829"/>
              <a:gd name="connsiteY491" fmla="*/ 1286203 h 6706386"/>
              <a:gd name="connsiteX492" fmla="*/ 2351358 w 9907829"/>
              <a:gd name="connsiteY492" fmla="*/ 1286284 h 6706386"/>
              <a:gd name="connsiteX493" fmla="*/ 2351320 w 9907829"/>
              <a:gd name="connsiteY493" fmla="*/ 1286467 h 6706386"/>
              <a:gd name="connsiteX494" fmla="*/ 2343311 w 9907829"/>
              <a:gd name="connsiteY494" fmla="*/ 1298281 h 6706386"/>
              <a:gd name="connsiteX495" fmla="*/ 2335655 w 9907829"/>
              <a:gd name="connsiteY495" fmla="*/ 1309697 h 6706386"/>
              <a:gd name="connsiteX496" fmla="*/ 2335503 w 9907829"/>
              <a:gd name="connsiteY496" fmla="*/ 1309802 h 6706386"/>
              <a:gd name="connsiteX497" fmla="*/ 2335415 w 9907829"/>
              <a:gd name="connsiteY497" fmla="*/ 1309930 h 6706386"/>
              <a:gd name="connsiteX498" fmla="*/ 2325840 w 9907829"/>
              <a:gd name="connsiteY498" fmla="*/ 1316351 h 6706386"/>
              <a:gd name="connsiteX499" fmla="*/ 2312191 w 9907829"/>
              <a:gd name="connsiteY499" fmla="*/ 1325604 h 6706386"/>
              <a:gd name="connsiteX500" fmla="*/ 2311981 w 9907829"/>
              <a:gd name="connsiteY500" fmla="*/ 1325647 h 6706386"/>
              <a:gd name="connsiteX501" fmla="*/ 2311921 w 9907829"/>
              <a:gd name="connsiteY501" fmla="*/ 1325687 h 6706386"/>
              <a:gd name="connsiteX502" fmla="*/ 2289573 w 9907829"/>
              <a:gd name="connsiteY502" fmla="*/ 1330186 h 6706386"/>
              <a:gd name="connsiteX503" fmla="*/ 2283309 w 9907829"/>
              <a:gd name="connsiteY503" fmla="*/ 1331454 h 6706386"/>
              <a:gd name="connsiteX504" fmla="*/ 2209446 w 9907829"/>
              <a:gd name="connsiteY504" fmla="*/ 1257593 h 6706386"/>
              <a:gd name="connsiteX505" fmla="*/ 2209449 w 9907829"/>
              <a:gd name="connsiteY505" fmla="*/ 1257589 h 6706386"/>
              <a:gd name="connsiteX506" fmla="*/ 2209446 w 9907829"/>
              <a:gd name="connsiteY506" fmla="*/ 1257585 h 6706386"/>
              <a:gd name="connsiteX507" fmla="*/ 2283309 w 9907829"/>
              <a:gd name="connsiteY507" fmla="*/ 1183722 h 6706386"/>
              <a:gd name="connsiteX508" fmla="*/ 2840166 w 9907829"/>
              <a:gd name="connsiteY508" fmla="*/ 1135550 h 6706386"/>
              <a:gd name="connsiteX509" fmla="*/ 2962201 w 9907829"/>
              <a:gd name="connsiteY509" fmla="*/ 1257583 h 6706386"/>
              <a:gd name="connsiteX510" fmla="*/ 2962201 w 9907829"/>
              <a:gd name="connsiteY510" fmla="*/ 1257588 h 6706386"/>
              <a:gd name="connsiteX511" fmla="*/ 2962201 w 9907829"/>
              <a:gd name="connsiteY511" fmla="*/ 1257592 h 6706386"/>
              <a:gd name="connsiteX512" fmla="*/ 2840166 w 9907829"/>
              <a:gd name="connsiteY512" fmla="*/ 1379625 h 6706386"/>
              <a:gd name="connsiteX513" fmla="*/ 2718134 w 9907829"/>
              <a:gd name="connsiteY513" fmla="*/ 1257592 h 6706386"/>
              <a:gd name="connsiteX514" fmla="*/ 2718135 w 9907829"/>
              <a:gd name="connsiteY514" fmla="*/ 1257588 h 6706386"/>
              <a:gd name="connsiteX515" fmla="*/ 2718134 w 9907829"/>
              <a:gd name="connsiteY515" fmla="*/ 1257583 h 6706386"/>
              <a:gd name="connsiteX516" fmla="*/ 2840166 w 9907829"/>
              <a:gd name="connsiteY516" fmla="*/ 1135550 h 6706386"/>
              <a:gd name="connsiteX517" fmla="*/ 9524387 w 9907829"/>
              <a:gd name="connsiteY517" fmla="*/ 1083526 h 6706386"/>
              <a:gd name="connsiteX518" fmla="*/ 9698445 w 9907829"/>
              <a:gd name="connsiteY518" fmla="*/ 1257586 h 6706386"/>
              <a:gd name="connsiteX519" fmla="*/ 9698379 w 9907829"/>
              <a:gd name="connsiteY519" fmla="*/ 1257912 h 6706386"/>
              <a:gd name="connsiteX520" fmla="*/ 9698445 w 9907829"/>
              <a:gd name="connsiteY520" fmla="*/ 1258239 h 6706386"/>
              <a:gd name="connsiteX521" fmla="*/ 9524387 w 9907829"/>
              <a:gd name="connsiteY521" fmla="*/ 1432296 h 6706386"/>
              <a:gd name="connsiteX522" fmla="*/ 9350329 w 9907829"/>
              <a:gd name="connsiteY522" fmla="*/ 1258239 h 6706386"/>
              <a:gd name="connsiteX523" fmla="*/ 9350396 w 9907829"/>
              <a:gd name="connsiteY523" fmla="*/ 1257911 h 6706386"/>
              <a:gd name="connsiteX524" fmla="*/ 9350329 w 9907829"/>
              <a:gd name="connsiteY524" fmla="*/ 1257586 h 6706386"/>
              <a:gd name="connsiteX525" fmla="*/ 9524387 w 9907829"/>
              <a:gd name="connsiteY525" fmla="*/ 1083526 h 6706386"/>
              <a:gd name="connsiteX526" fmla="*/ 3397667 w 9907829"/>
              <a:gd name="connsiteY526" fmla="*/ 1083526 h 6706386"/>
              <a:gd name="connsiteX527" fmla="*/ 3571726 w 9907829"/>
              <a:gd name="connsiteY527" fmla="*/ 1257583 h 6706386"/>
              <a:gd name="connsiteX528" fmla="*/ 3571660 w 9907829"/>
              <a:gd name="connsiteY528" fmla="*/ 1257910 h 6706386"/>
              <a:gd name="connsiteX529" fmla="*/ 3571726 w 9907829"/>
              <a:gd name="connsiteY529" fmla="*/ 1258237 h 6706386"/>
              <a:gd name="connsiteX530" fmla="*/ 3397667 w 9907829"/>
              <a:gd name="connsiteY530" fmla="*/ 1432293 h 6706386"/>
              <a:gd name="connsiteX531" fmla="*/ 3223609 w 9907829"/>
              <a:gd name="connsiteY531" fmla="*/ 1258237 h 6706386"/>
              <a:gd name="connsiteX532" fmla="*/ 3223676 w 9907829"/>
              <a:gd name="connsiteY532" fmla="*/ 1257910 h 6706386"/>
              <a:gd name="connsiteX533" fmla="*/ 3223609 w 9907829"/>
              <a:gd name="connsiteY533" fmla="*/ 1257583 h 6706386"/>
              <a:gd name="connsiteX534" fmla="*/ 3397667 w 9907829"/>
              <a:gd name="connsiteY534" fmla="*/ 1083526 h 6706386"/>
              <a:gd name="connsiteX535" fmla="*/ 3985091 w 9907829"/>
              <a:gd name="connsiteY535" fmla="*/ 1035050 h 6706386"/>
              <a:gd name="connsiteX536" fmla="*/ 3999885 w 9907829"/>
              <a:gd name="connsiteY536" fmla="*/ 1038730 h 6706386"/>
              <a:gd name="connsiteX537" fmla="*/ 4006300 w 9907829"/>
              <a:gd name="connsiteY537" fmla="*/ 1038985 h 6706386"/>
              <a:gd name="connsiteX538" fmla="*/ 4012914 w 9907829"/>
              <a:gd name="connsiteY538" fmla="*/ 1041971 h 6706386"/>
              <a:gd name="connsiteX539" fmla="*/ 4032126 w 9907829"/>
              <a:gd name="connsiteY539" fmla="*/ 1046750 h 6706386"/>
              <a:gd name="connsiteX540" fmla="*/ 4075781 w 9907829"/>
              <a:gd name="connsiteY540" fmla="*/ 1068355 h 6706386"/>
              <a:gd name="connsiteX541" fmla="*/ 4081393 w 9907829"/>
              <a:gd name="connsiteY541" fmla="*/ 1072885 h 6706386"/>
              <a:gd name="connsiteX542" fmla="*/ 4084846 w 9907829"/>
              <a:gd name="connsiteY542" fmla="*/ 1074445 h 6706386"/>
              <a:gd name="connsiteX543" fmla="*/ 4089571 w 9907829"/>
              <a:gd name="connsiteY543" fmla="*/ 1079489 h 6706386"/>
              <a:gd name="connsiteX544" fmla="*/ 4114288 w 9907829"/>
              <a:gd name="connsiteY544" fmla="*/ 1099448 h 6706386"/>
              <a:gd name="connsiteX545" fmla="*/ 4145805 w 9907829"/>
              <a:gd name="connsiteY545" fmla="*/ 1139522 h 6706386"/>
              <a:gd name="connsiteX546" fmla="*/ 4145875 w 9907829"/>
              <a:gd name="connsiteY546" fmla="*/ 1139595 h 6706386"/>
              <a:gd name="connsiteX547" fmla="*/ 4176845 w 9907829"/>
              <a:gd name="connsiteY547" fmla="*/ 1223321 h 6706386"/>
              <a:gd name="connsiteX548" fmla="*/ 4176845 w 9907829"/>
              <a:gd name="connsiteY548" fmla="*/ 1223333 h 6706386"/>
              <a:gd name="connsiteX549" fmla="*/ 4176845 w 9907829"/>
              <a:gd name="connsiteY549" fmla="*/ 1223336 h 6706386"/>
              <a:gd name="connsiteX550" fmla="*/ 4072815 w 9907829"/>
              <a:gd name="connsiteY550" fmla="*/ 1449022 h 6706386"/>
              <a:gd name="connsiteX551" fmla="*/ 3763402 w 9907829"/>
              <a:gd name="connsiteY551" fmla="*/ 1375963 h 6706386"/>
              <a:gd name="connsiteX552" fmla="*/ 3732430 w 9907829"/>
              <a:gd name="connsiteY552" fmla="*/ 1292239 h 6706386"/>
              <a:gd name="connsiteX553" fmla="*/ 3732432 w 9907829"/>
              <a:gd name="connsiteY553" fmla="*/ 1292226 h 6706386"/>
              <a:gd name="connsiteX554" fmla="*/ 3732430 w 9907829"/>
              <a:gd name="connsiteY554" fmla="*/ 1292225 h 6706386"/>
              <a:gd name="connsiteX555" fmla="*/ 3836462 w 9907829"/>
              <a:gd name="connsiteY555" fmla="*/ 1066536 h 6706386"/>
              <a:gd name="connsiteX556" fmla="*/ 3920187 w 9907829"/>
              <a:gd name="connsiteY556" fmla="*/ 1035565 h 6706386"/>
              <a:gd name="connsiteX557" fmla="*/ 3920506 w 9907829"/>
              <a:gd name="connsiteY557" fmla="*/ 1035578 h 6706386"/>
              <a:gd name="connsiteX558" fmla="*/ 8967529 w 9907829"/>
              <a:gd name="connsiteY558" fmla="*/ 1032788 h 6706386"/>
              <a:gd name="connsiteX559" fmla="*/ 9192327 w 9907829"/>
              <a:gd name="connsiteY559" fmla="*/ 1257587 h 6706386"/>
              <a:gd name="connsiteX560" fmla="*/ 9192326 w 9907829"/>
              <a:gd name="connsiteY560" fmla="*/ 1257592 h 6706386"/>
              <a:gd name="connsiteX561" fmla="*/ 9192327 w 9907829"/>
              <a:gd name="connsiteY561" fmla="*/ 1257597 h 6706386"/>
              <a:gd name="connsiteX562" fmla="*/ 8967529 w 9907829"/>
              <a:gd name="connsiteY562" fmla="*/ 1482394 h 6706386"/>
              <a:gd name="connsiteX563" fmla="*/ 8742731 w 9907829"/>
              <a:gd name="connsiteY563" fmla="*/ 1257597 h 6706386"/>
              <a:gd name="connsiteX564" fmla="*/ 8742732 w 9907829"/>
              <a:gd name="connsiteY564" fmla="*/ 1257592 h 6706386"/>
              <a:gd name="connsiteX565" fmla="*/ 8742731 w 9907829"/>
              <a:gd name="connsiteY565" fmla="*/ 1257587 h 6706386"/>
              <a:gd name="connsiteX566" fmla="*/ 8967529 w 9907829"/>
              <a:gd name="connsiteY566" fmla="*/ 1032788 h 6706386"/>
              <a:gd name="connsiteX567" fmla="*/ 2283309 w 9907829"/>
              <a:gd name="connsiteY567" fmla="*/ 662831 h 6706386"/>
              <a:gd name="connsiteX568" fmla="*/ 2309964 w 9907829"/>
              <a:gd name="connsiteY568" fmla="*/ 673830 h 6706386"/>
              <a:gd name="connsiteX569" fmla="*/ 2310039 w 9907829"/>
              <a:gd name="connsiteY569" fmla="*/ 674008 h 6706386"/>
              <a:gd name="connsiteX570" fmla="*/ 2310206 w 9907829"/>
              <a:gd name="connsiteY570" fmla="*/ 674077 h 6706386"/>
              <a:gd name="connsiteX571" fmla="*/ 2320996 w 9907829"/>
              <a:gd name="connsiteY571" fmla="*/ 700227 h 6706386"/>
              <a:gd name="connsiteX572" fmla="*/ 2321205 w 9907829"/>
              <a:gd name="connsiteY572" fmla="*/ 700726 h 6706386"/>
              <a:gd name="connsiteX573" fmla="*/ 2321202 w 9907829"/>
              <a:gd name="connsiteY573" fmla="*/ 700728 h 6706386"/>
              <a:gd name="connsiteX574" fmla="*/ 2321205 w 9907829"/>
              <a:gd name="connsiteY574" fmla="*/ 700732 h 6706386"/>
              <a:gd name="connsiteX575" fmla="*/ 2320996 w 9907829"/>
              <a:gd name="connsiteY575" fmla="*/ 701231 h 6706386"/>
              <a:gd name="connsiteX576" fmla="*/ 2310206 w 9907829"/>
              <a:gd name="connsiteY576" fmla="*/ 727380 h 6706386"/>
              <a:gd name="connsiteX577" fmla="*/ 2310039 w 9907829"/>
              <a:gd name="connsiteY577" fmla="*/ 727450 h 6706386"/>
              <a:gd name="connsiteX578" fmla="*/ 2309964 w 9907829"/>
              <a:gd name="connsiteY578" fmla="*/ 727628 h 6706386"/>
              <a:gd name="connsiteX579" fmla="*/ 2283309 w 9907829"/>
              <a:gd name="connsiteY579" fmla="*/ 738627 h 6706386"/>
              <a:gd name="connsiteX580" fmla="*/ 2282587 w 9907829"/>
              <a:gd name="connsiteY580" fmla="*/ 738324 h 6706386"/>
              <a:gd name="connsiteX581" fmla="*/ 2256415 w 9907829"/>
              <a:gd name="connsiteY581" fmla="*/ 727622 h 6706386"/>
              <a:gd name="connsiteX582" fmla="*/ 2245705 w 9907829"/>
              <a:gd name="connsiteY582" fmla="*/ 701435 h 6706386"/>
              <a:gd name="connsiteX583" fmla="*/ 2245414 w 9907829"/>
              <a:gd name="connsiteY583" fmla="*/ 700732 h 6706386"/>
              <a:gd name="connsiteX584" fmla="*/ 2245417 w 9907829"/>
              <a:gd name="connsiteY584" fmla="*/ 700728 h 6706386"/>
              <a:gd name="connsiteX585" fmla="*/ 2245414 w 9907829"/>
              <a:gd name="connsiteY585" fmla="*/ 700726 h 6706386"/>
              <a:gd name="connsiteX586" fmla="*/ 2245705 w 9907829"/>
              <a:gd name="connsiteY586" fmla="*/ 700022 h 6706386"/>
              <a:gd name="connsiteX587" fmla="*/ 2256415 w 9907829"/>
              <a:gd name="connsiteY587" fmla="*/ 673836 h 6706386"/>
              <a:gd name="connsiteX588" fmla="*/ 2282587 w 9907829"/>
              <a:gd name="connsiteY588" fmla="*/ 663133 h 6706386"/>
              <a:gd name="connsiteX589" fmla="*/ 2840166 w 9907829"/>
              <a:gd name="connsiteY589" fmla="*/ 635213 h 6706386"/>
              <a:gd name="connsiteX590" fmla="*/ 2905681 w 9907829"/>
              <a:gd name="connsiteY590" fmla="*/ 700726 h 6706386"/>
              <a:gd name="connsiteX591" fmla="*/ 2905681 w 9907829"/>
              <a:gd name="connsiteY591" fmla="*/ 700729 h 6706386"/>
              <a:gd name="connsiteX592" fmla="*/ 2905681 w 9907829"/>
              <a:gd name="connsiteY592" fmla="*/ 700732 h 6706386"/>
              <a:gd name="connsiteX593" fmla="*/ 2840166 w 9907829"/>
              <a:gd name="connsiteY593" fmla="*/ 766245 h 6706386"/>
              <a:gd name="connsiteX594" fmla="*/ 2774655 w 9907829"/>
              <a:gd name="connsiteY594" fmla="*/ 700732 h 6706386"/>
              <a:gd name="connsiteX595" fmla="*/ 2774657 w 9907829"/>
              <a:gd name="connsiteY595" fmla="*/ 700729 h 6706386"/>
              <a:gd name="connsiteX596" fmla="*/ 2774655 w 9907829"/>
              <a:gd name="connsiteY596" fmla="*/ 700726 h 6706386"/>
              <a:gd name="connsiteX597" fmla="*/ 2840166 w 9907829"/>
              <a:gd name="connsiteY597" fmla="*/ 635213 h 6706386"/>
              <a:gd name="connsiteX598" fmla="*/ 9524387 w 9907829"/>
              <a:gd name="connsiteY598" fmla="*/ 601816 h 6706386"/>
              <a:gd name="connsiteX599" fmla="*/ 9623299 w 9907829"/>
              <a:gd name="connsiteY599" fmla="*/ 700727 h 6706386"/>
              <a:gd name="connsiteX600" fmla="*/ 9623298 w 9907829"/>
              <a:gd name="connsiteY600" fmla="*/ 700731 h 6706386"/>
              <a:gd name="connsiteX601" fmla="*/ 9623299 w 9907829"/>
              <a:gd name="connsiteY601" fmla="*/ 700734 h 6706386"/>
              <a:gd name="connsiteX602" fmla="*/ 9524387 w 9907829"/>
              <a:gd name="connsiteY602" fmla="*/ 799647 h 6706386"/>
              <a:gd name="connsiteX603" fmla="*/ 9425476 w 9907829"/>
              <a:gd name="connsiteY603" fmla="*/ 700734 h 6706386"/>
              <a:gd name="connsiteX604" fmla="*/ 9425477 w 9907829"/>
              <a:gd name="connsiteY604" fmla="*/ 700731 h 6706386"/>
              <a:gd name="connsiteX605" fmla="*/ 9425476 w 9907829"/>
              <a:gd name="connsiteY605" fmla="*/ 700727 h 6706386"/>
              <a:gd name="connsiteX606" fmla="*/ 9524387 w 9907829"/>
              <a:gd name="connsiteY606" fmla="*/ 601816 h 6706386"/>
              <a:gd name="connsiteX607" fmla="*/ 3397667 w 9907829"/>
              <a:gd name="connsiteY607" fmla="*/ 601815 h 6706386"/>
              <a:gd name="connsiteX608" fmla="*/ 3496579 w 9907829"/>
              <a:gd name="connsiteY608" fmla="*/ 700726 h 6706386"/>
              <a:gd name="connsiteX609" fmla="*/ 3496579 w 9907829"/>
              <a:gd name="connsiteY609" fmla="*/ 700729 h 6706386"/>
              <a:gd name="connsiteX610" fmla="*/ 3496579 w 9907829"/>
              <a:gd name="connsiteY610" fmla="*/ 700733 h 6706386"/>
              <a:gd name="connsiteX611" fmla="*/ 3397667 w 9907829"/>
              <a:gd name="connsiteY611" fmla="*/ 799643 h 6706386"/>
              <a:gd name="connsiteX612" fmla="*/ 3383469 w 9907829"/>
              <a:gd name="connsiteY612" fmla="*/ 796774 h 6706386"/>
              <a:gd name="connsiteX613" fmla="*/ 3359090 w 9907829"/>
              <a:gd name="connsiteY613" fmla="*/ 791860 h 6706386"/>
              <a:gd name="connsiteX614" fmla="*/ 3306263 w 9907829"/>
              <a:gd name="connsiteY614" fmla="*/ 739212 h 6706386"/>
              <a:gd name="connsiteX615" fmla="*/ 3298794 w 9907829"/>
              <a:gd name="connsiteY615" fmla="*/ 700922 h 6706386"/>
              <a:gd name="connsiteX616" fmla="*/ 3298756 w 9907829"/>
              <a:gd name="connsiteY616" fmla="*/ 700733 h 6706386"/>
              <a:gd name="connsiteX617" fmla="*/ 3298757 w 9907829"/>
              <a:gd name="connsiteY617" fmla="*/ 700729 h 6706386"/>
              <a:gd name="connsiteX618" fmla="*/ 3298756 w 9907829"/>
              <a:gd name="connsiteY618" fmla="*/ 700726 h 6706386"/>
              <a:gd name="connsiteX619" fmla="*/ 3298794 w 9907829"/>
              <a:gd name="connsiteY619" fmla="*/ 700536 h 6706386"/>
              <a:gd name="connsiteX620" fmla="*/ 3306263 w 9907829"/>
              <a:gd name="connsiteY620" fmla="*/ 662246 h 6706386"/>
              <a:gd name="connsiteX621" fmla="*/ 3359090 w 9907829"/>
              <a:gd name="connsiteY621" fmla="*/ 609599 h 6706386"/>
              <a:gd name="connsiteX622" fmla="*/ 3382942 w 9907829"/>
              <a:gd name="connsiteY622" fmla="*/ 604790 h 6706386"/>
              <a:gd name="connsiteX623" fmla="*/ 8967528 w 9907829"/>
              <a:gd name="connsiteY623" fmla="*/ 560709 h 6706386"/>
              <a:gd name="connsiteX624" fmla="*/ 9107546 w 9907829"/>
              <a:gd name="connsiteY624" fmla="*/ 700727 h 6706386"/>
              <a:gd name="connsiteX625" fmla="*/ 9107545 w 9907829"/>
              <a:gd name="connsiteY625" fmla="*/ 700731 h 6706386"/>
              <a:gd name="connsiteX626" fmla="*/ 9107546 w 9907829"/>
              <a:gd name="connsiteY626" fmla="*/ 700734 h 6706386"/>
              <a:gd name="connsiteX627" fmla="*/ 8967528 w 9907829"/>
              <a:gd name="connsiteY627" fmla="*/ 840753 h 6706386"/>
              <a:gd name="connsiteX628" fmla="*/ 8827512 w 9907829"/>
              <a:gd name="connsiteY628" fmla="*/ 700734 h 6706386"/>
              <a:gd name="connsiteX629" fmla="*/ 8827513 w 9907829"/>
              <a:gd name="connsiteY629" fmla="*/ 700731 h 6706386"/>
              <a:gd name="connsiteX630" fmla="*/ 8827512 w 9907829"/>
              <a:gd name="connsiteY630" fmla="*/ 700727 h 6706386"/>
              <a:gd name="connsiteX631" fmla="*/ 8827837 w 9907829"/>
              <a:gd name="connsiteY631" fmla="*/ 699122 h 6706386"/>
              <a:gd name="connsiteX632" fmla="*/ 8838551 w 9907829"/>
              <a:gd name="connsiteY632" fmla="*/ 646071 h 6706386"/>
              <a:gd name="connsiteX633" fmla="*/ 8913135 w 9907829"/>
              <a:gd name="connsiteY633" fmla="*/ 571667 h 6706386"/>
              <a:gd name="connsiteX634" fmla="*/ 8962419 w 9907829"/>
              <a:gd name="connsiteY634" fmla="*/ 561746 h 6706386"/>
              <a:gd name="connsiteX635" fmla="*/ 3954526 w 9907829"/>
              <a:gd name="connsiteY635" fmla="*/ 560708 h 6706386"/>
              <a:gd name="connsiteX636" fmla="*/ 4094542 w 9907829"/>
              <a:gd name="connsiteY636" fmla="*/ 700726 h 6706386"/>
              <a:gd name="connsiteX637" fmla="*/ 4094542 w 9907829"/>
              <a:gd name="connsiteY637" fmla="*/ 700729 h 6706386"/>
              <a:gd name="connsiteX638" fmla="*/ 4094542 w 9907829"/>
              <a:gd name="connsiteY638" fmla="*/ 700733 h 6706386"/>
              <a:gd name="connsiteX639" fmla="*/ 3954526 w 9907829"/>
              <a:gd name="connsiteY639" fmla="*/ 840752 h 6706386"/>
              <a:gd name="connsiteX640" fmla="*/ 3814508 w 9907829"/>
              <a:gd name="connsiteY640" fmla="*/ 700733 h 6706386"/>
              <a:gd name="connsiteX641" fmla="*/ 3814509 w 9907829"/>
              <a:gd name="connsiteY641" fmla="*/ 700729 h 6706386"/>
              <a:gd name="connsiteX642" fmla="*/ 3814508 w 9907829"/>
              <a:gd name="connsiteY642" fmla="*/ 700726 h 6706386"/>
              <a:gd name="connsiteX643" fmla="*/ 3814798 w 9907829"/>
              <a:gd name="connsiteY643" fmla="*/ 699297 h 6706386"/>
              <a:gd name="connsiteX644" fmla="*/ 3825547 w 9907829"/>
              <a:gd name="connsiteY644" fmla="*/ 646068 h 6706386"/>
              <a:gd name="connsiteX645" fmla="*/ 3900132 w 9907829"/>
              <a:gd name="connsiteY645" fmla="*/ 571664 h 6706386"/>
              <a:gd name="connsiteX646" fmla="*/ 3950168 w 9907829"/>
              <a:gd name="connsiteY646" fmla="*/ 561592 h 6706386"/>
              <a:gd name="connsiteX647" fmla="*/ 8410672 w 9907829"/>
              <a:gd name="connsiteY647" fmla="*/ 526027 h 6706386"/>
              <a:gd name="connsiteX648" fmla="*/ 8585372 w 9907829"/>
              <a:gd name="connsiteY648" fmla="*/ 700727 h 6706386"/>
              <a:gd name="connsiteX649" fmla="*/ 8585371 w 9907829"/>
              <a:gd name="connsiteY649" fmla="*/ 700731 h 6706386"/>
              <a:gd name="connsiteX650" fmla="*/ 8585372 w 9907829"/>
              <a:gd name="connsiteY650" fmla="*/ 700734 h 6706386"/>
              <a:gd name="connsiteX651" fmla="*/ 8410672 w 9907829"/>
              <a:gd name="connsiteY651" fmla="*/ 875437 h 6706386"/>
              <a:gd name="connsiteX652" fmla="*/ 8235971 w 9907829"/>
              <a:gd name="connsiteY652" fmla="*/ 700734 h 6706386"/>
              <a:gd name="connsiteX653" fmla="*/ 8235973 w 9907829"/>
              <a:gd name="connsiteY653" fmla="*/ 700731 h 6706386"/>
              <a:gd name="connsiteX654" fmla="*/ 8235971 w 9907829"/>
              <a:gd name="connsiteY654" fmla="*/ 700727 h 6706386"/>
              <a:gd name="connsiteX655" fmla="*/ 8410672 w 9907829"/>
              <a:gd name="connsiteY655" fmla="*/ 526027 h 6706386"/>
              <a:gd name="connsiteX656" fmla="*/ 4511383 w 9907829"/>
              <a:gd name="connsiteY656" fmla="*/ 523456 h 6706386"/>
              <a:gd name="connsiteX657" fmla="*/ 4525910 w 9907829"/>
              <a:gd name="connsiteY657" fmla="*/ 526391 h 6706386"/>
              <a:gd name="connsiteX658" fmla="*/ 4580269 w 9907829"/>
              <a:gd name="connsiteY658" fmla="*/ 537344 h 6706386"/>
              <a:gd name="connsiteX659" fmla="*/ 4580329 w 9907829"/>
              <a:gd name="connsiteY659" fmla="*/ 537384 h 6706386"/>
              <a:gd name="connsiteX660" fmla="*/ 4580539 w 9907829"/>
              <a:gd name="connsiteY660" fmla="*/ 537427 h 6706386"/>
              <a:gd name="connsiteX661" fmla="*/ 4613420 w 9907829"/>
              <a:gd name="connsiteY661" fmla="*/ 559640 h 6706386"/>
              <a:gd name="connsiteX662" fmla="*/ 4636628 w 9907829"/>
              <a:gd name="connsiteY662" fmla="*/ 575248 h 6706386"/>
              <a:gd name="connsiteX663" fmla="*/ 4636716 w 9907829"/>
              <a:gd name="connsiteY663" fmla="*/ 575377 h 6706386"/>
              <a:gd name="connsiteX664" fmla="*/ 4636869 w 9907829"/>
              <a:gd name="connsiteY664" fmla="*/ 575481 h 6706386"/>
              <a:gd name="connsiteX665" fmla="*/ 4655387 w 9907829"/>
              <a:gd name="connsiteY665" fmla="*/ 603014 h 6706386"/>
              <a:gd name="connsiteX666" fmla="*/ 4674683 w 9907829"/>
              <a:gd name="connsiteY666" fmla="*/ 631578 h 6706386"/>
              <a:gd name="connsiteX667" fmla="*/ 4674721 w 9907829"/>
              <a:gd name="connsiteY667" fmla="*/ 631762 h 6706386"/>
              <a:gd name="connsiteX668" fmla="*/ 4674773 w 9907829"/>
              <a:gd name="connsiteY668" fmla="*/ 631841 h 6706386"/>
              <a:gd name="connsiteX669" fmla="*/ 4688653 w 9907829"/>
              <a:gd name="connsiteY669" fmla="*/ 700726 h 6706386"/>
              <a:gd name="connsiteX670" fmla="*/ 4688653 w 9907829"/>
              <a:gd name="connsiteY670" fmla="*/ 700729 h 6706386"/>
              <a:gd name="connsiteX671" fmla="*/ 4688653 w 9907829"/>
              <a:gd name="connsiteY671" fmla="*/ 700733 h 6706386"/>
              <a:gd name="connsiteX672" fmla="*/ 4674773 w 9907829"/>
              <a:gd name="connsiteY672" fmla="*/ 769618 h 6706386"/>
              <a:gd name="connsiteX673" fmla="*/ 4674721 w 9907829"/>
              <a:gd name="connsiteY673" fmla="*/ 769698 h 6706386"/>
              <a:gd name="connsiteX674" fmla="*/ 4674683 w 9907829"/>
              <a:gd name="connsiteY674" fmla="*/ 769882 h 6706386"/>
              <a:gd name="connsiteX675" fmla="*/ 4655424 w 9907829"/>
              <a:gd name="connsiteY675" fmla="*/ 798388 h 6706386"/>
              <a:gd name="connsiteX676" fmla="*/ 4636869 w 9907829"/>
              <a:gd name="connsiteY676" fmla="*/ 825980 h 6706386"/>
              <a:gd name="connsiteX677" fmla="*/ 4636716 w 9907829"/>
              <a:gd name="connsiteY677" fmla="*/ 826084 h 6706386"/>
              <a:gd name="connsiteX678" fmla="*/ 4636628 w 9907829"/>
              <a:gd name="connsiteY678" fmla="*/ 826212 h 6706386"/>
              <a:gd name="connsiteX679" fmla="*/ 4613620 w 9907829"/>
              <a:gd name="connsiteY679" fmla="*/ 841687 h 6706386"/>
              <a:gd name="connsiteX680" fmla="*/ 4580539 w 9907829"/>
              <a:gd name="connsiteY680" fmla="*/ 864035 h 6706386"/>
              <a:gd name="connsiteX681" fmla="*/ 4580326 w 9907829"/>
              <a:gd name="connsiteY681" fmla="*/ 864079 h 6706386"/>
              <a:gd name="connsiteX682" fmla="*/ 4580269 w 9907829"/>
              <a:gd name="connsiteY682" fmla="*/ 864118 h 6706386"/>
              <a:gd name="connsiteX683" fmla="*/ 4527549 w 9907829"/>
              <a:gd name="connsiteY683" fmla="*/ 874740 h 6706386"/>
              <a:gd name="connsiteX684" fmla="*/ 4511383 w 9907829"/>
              <a:gd name="connsiteY684" fmla="*/ 878004 h 6706386"/>
              <a:gd name="connsiteX685" fmla="*/ 4334114 w 9907829"/>
              <a:gd name="connsiteY685" fmla="*/ 700733 h 6706386"/>
              <a:gd name="connsiteX686" fmla="*/ 4334115 w 9907829"/>
              <a:gd name="connsiteY686" fmla="*/ 700729 h 6706386"/>
              <a:gd name="connsiteX687" fmla="*/ 4334114 w 9907829"/>
              <a:gd name="connsiteY687" fmla="*/ 700726 h 6706386"/>
              <a:gd name="connsiteX688" fmla="*/ 4511383 w 9907829"/>
              <a:gd name="connsiteY688" fmla="*/ 523456 h 6706386"/>
              <a:gd name="connsiteX689" fmla="*/ 7853813 w 9907829"/>
              <a:gd name="connsiteY689" fmla="*/ 495840 h 6706386"/>
              <a:gd name="connsiteX690" fmla="*/ 8058701 w 9907829"/>
              <a:gd name="connsiteY690" fmla="*/ 700727 h 6706386"/>
              <a:gd name="connsiteX691" fmla="*/ 8058699 w 9907829"/>
              <a:gd name="connsiteY691" fmla="*/ 700731 h 6706386"/>
              <a:gd name="connsiteX692" fmla="*/ 8058701 w 9907829"/>
              <a:gd name="connsiteY692" fmla="*/ 700734 h 6706386"/>
              <a:gd name="connsiteX693" fmla="*/ 7853813 w 9907829"/>
              <a:gd name="connsiteY693" fmla="*/ 905624 h 6706386"/>
              <a:gd name="connsiteX694" fmla="*/ 7840604 w 9907829"/>
              <a:gd name="connsiteY694" fmla="*/ 902954 h 6706386"/>
              <a:gd name="connsiteX695" fmla="*/ 7773839 w 9907829"/>
              <a:gd name="connsiteY695" fmla="*/ 889499 h 6706386"/>
              <a:gd name="connsiteX696" fmla="*/ 7664953 w 9907829"/>
              <a:gd name="connsiteY696" fmla="*/ 780429 h 6706386"/>
              <a:gd name="connsiteX697" fmla="*/ 7649199 w 9907829"/>
              <a:gd name="connsiteY697" fmla="*/ 702084 h 6706386"/>
              <a:gd name="connsiteX698" fmla="*/ 7648926 w 9907829"/>
              <a:gd name="connsiteY698" fmla="*/ 700734 h 6706386"/>
              <a:gd name="connsiteX699" fmla="*/ 7648927 w 9907829"/>
              <a:gd name="connsiteY699" fmla="*/ 700731 h 6706386"/>
              <a:gd name="connsiteX700" fmla="*/ 7648926 w 9907829"/>
              <a:gd name="connsiteY700" fmla="*/ 700727 h 6706386"/>
              <a:gd name="connsiteX701" fmla="*/ 7649199 w 9907829"/>
              <a:gd name="connsiteY701" fmla="*/ 699377 h 6706386"/>
              <a:gd name="connsiteX702" fmla="*/ 7664953 w 9907829"/>
              <a:gd name="connsiteY702" fmla="*/ 621032 h 6706386"/>
              <a:gd name="connsiteX703" fmla="*/ 7773839 w 9907829"/>
              <a:gd name="connsiteY703" fmla="*/ 511965 h 6706386"/>
              <a:gd name="connsiteX704" fmla="*/ 7842361 w 9907829"/>
              <a:gd name="connsiteY704" fmla="*/ 498155 h 6706386"/>
              <a:gd name="connsiteX705" fmla="*/ 5068241 w 9907829"/>
              <a:gd name="connsiteY705" fmla="*/ 493269 h 6706386"/>
              <a:gd name="connsiteX706" fmla="*/ 5275698 w 9907829"/>
              <a:gd name="connsiteY706" fmla="*/ 700726 h 6706386"/>
              <a:gd name="connsiteX707" fmla="*/ 5275697 w 9907829"/>
              <a:gd name="connsiteY707" fmla="*/ 700729 h 6706386"/>
              <a:gd name="connsiteX708" fmla="*/ 5275698 w 9907829"/>
              <a:gd name="connsiteY708" fmla="*/ 700733 h 6706386"/>
              <a:gd name="connsiteX709" fmla="*/ 5068241 w 9907829"/>
              <a:gd name="connsiteY709" fmla="*/ 908192 h 6706386"/>
              <a:gd name="connsiteX710" fmla="*/ 4860783 w 9907829"/>
              <a:gd name="connsiteY710" fmla="*/ 700733 h 6706386"/>
              <a:gd name="connsiteX711" fmla="*/ 4860785 w 9907829"/>
              <a:gd name="connsiteY711" fmla="*/ 700729 h 6706386"/>
              <a:gd name="connsiteX712" fmla="*/ 4860783 w 9907829"/>
              <a:gd name="connsiteY712" fmla="*/ 700726 h 6706386"/>
              <a:gd name="connsiteX713" fmla="*/ 4861236 w 9907829"/>
              <a:gd name="connsiteY713" fmla="*/ 698502 h 6706386"/>
              <a:gd name="connsiteX714" fmla="*/ 4877122 w 9907829"/>
              <a:gd name="connsiteY714" fmla="*/ 619816 h 6706386"/>
              <a:gd name="connsiteX715" fmla="*/ 4987595 w 9907829"/>
              <a:gd name="connsiteY715" fmla="*/ 509525 h 6706386"/>
              <a:gd name="connsiteX716" fmla="*/ 5061344 w 9907829"/>
              <a:gd name="connsiteY716" fmla="*/ 494667 h 6706386"/>
              <a:gd name="connsiteX717" fmla="*/ 7296313 w 9907829"/>
              <a:gd name="connsiteY717" fmla="*/ 471433 h 6706386"/>
              <a:gd name="connsiteX718" fmla="*/ 7525607 w 9907829"/>
              <a:gd name="connsiteY718" fmla="*/ 700727 h 6706386"/>
              <a:gd name="connsiteX719" fmla="*/ 7525605 w 9907829"/>
              <a:gd name="connsiteY719" fmla="*/ 700731 h 6706386"/>
              <a:gd name="connsiteX720" fmla="*/ 7525607 w 9907829"/>
              <a:gd name="connsiteY720" fmla="*/ 700734 h 6706386"/>
              <a:gd name="connsiteX721" fmla="*/ 7296313 w 9907829"/>
              <a:gd name="connsiteY721" fmla="*/ 930031 h 6706386"/>
              <a:gd name="connsiteX722" fmla="*/ 7067019 w 9907829"/>
              <a:gd name="connsiteY722" fmla="*/ 700734 h 6706386"/>
              <a:gd name="connsiteX723" fmla="*/ 7067020 w 9907829"/>
              <a:gd name="connsiteY723" fmla="*/ 700731 h 6706386"/>
              <a:gd name="connsiteX724" fmla="*/ 7067019 w 9907829"/>
              <a:gd name="connsiteY724" fmla="*/ 700727 h 6706386"/>
              <a:gd name="connsiteX725" fmla="*/ 7296313 w 9907829"/>
              <a:gd name="connsiteY725" fmla="*/ 471433 h 6706386"/>
              <a:gd name="connsiteX726" fmla="*/ 5625740 w 9907829"/>
              <a:gd name="connsiteY726" fmla="*/ 471431 h 6706386"/>
              <a:gd name="connsiteX727" fmla="*/ 5855035 w 9907829"/>
              <a:gd name="connsiteY727" fmla="*/ 700726 h 6706386"/>
              <a:gd name="connsiteX728" fmla="*/ 5855033 w 9907829"/>
              <a:gd name="connsiteY728" fmla="*/ 700729 h 6706386"/>
              <a:gd name="connsiteX729" fmla="*/ 5855035 w 9907829"/>
              <a:gd name="connsiteY729" fmla="*/ 700734 h 6706386"/>
              <a:gd name="connsiteX730" fmla="*/ 5625740 w 9907829"/>
              <a:gd name="connsiteY730" fmla="*/ 930031 h 6706386"/>
              <a:gd name="connsiteX731" fmla="*/ 5602468 w 9907829"/>
              <a:gd name="connsiteY731" fmla="*/ 927681 h 6706386"/>
              <a:gd name="connsiteX732" fmla="*/ 5579376 w 9907829"/>
              <a:gd name="connsiteY732" fmla="*/ 925359 h 6706386"/>
              <a:gd name="connsiteX733" fmla="*/ 5414389 w 9907829"/>
              <a:gd name="connsiteY733" fmla="*/ 789933 h 6706386"/>
              <a:gd name="connsiteX734" fmla="*/ 5396752 w 9907829"/>
              <a:gd name="connsiteY734" fmla="*/ 702248 h 6706386"/>
              <a:gd name="connsiteX735" fmla="*/ 5396446 w 9907829"/>
              <a:gd name="connsiteY735" fmla="*/ 700734 h 6706386"/>
              <a:gd name="connsiteX736" fmla="*/ 5396447 w 9907829"/>
              <a:gd name="connsiteY736" fmla="*/ 700729 h 6706386"/>
              <a:gd name="connsiteX737" fmla="*/ 5396446 w 9907829"/>
              <a:gd name="connsiteY737" fmla="*/ 700726 h 6706386"/>
              <a:gd name="connsiteX738" fmla="*/ 5396751 w 9907829"/>
              <a:gd name="connsiteY738" fmla="*/ 699216 h 6706386"/>
              <a:gd name="connsiteX739" fmla="*/ 5414389 w 9907829"/>
              <a:gd name="connsiteY739" fmla="*/ 611527 h 6706386"/>
              <a:gd name="connsiteX740" fmla="*/ 5579376 w 9907829"/>
              <a:gd name="connsiteY740" fmla="*/ 476103 h 6706386"/>
              <a:gd name="connsiteX741" fmla="*/ 5606191 w 9907829"/>
              <a:gd name="connsiteY741" fmla="*/ 473405 h 6706386"/>
              <a:gd name="connsiteX742" fmla="*/ 6181956 w 9907829"/>
              <a:gd name="connsiteY742" fmla="*/ 461149 h 6706386"/>
              <a:gd name="connsiteX743" fmla="*/ 6421527 w 9907829"/>
              <a:gd name="connsiteY743" fmla="*/ 700721 h 6706386"/>
              <a:gd name="connsiteX744" fmla="*/ 6254533 w 9907829"/>
              <a:gd name="connsiteY744" fmla="*/ 929373 h 6706386"/>
              <a:gd name="connsiteX745" fmla="*/ 6460706 w 9907829"/>
              <a:gd name="connsiteY745" fmla="*/ 1069390 h 6706386"/>
              <a:gd name="connsiteX746" fmla="*/ 6666879 w 9907829"/>
              <a:gd name="connsiteY746" fmla="*/ 929373 h 6706386"/>
              <a:gd name="connsiteX747" fmla="*/ 6499885 w 9907829"/>
              <a:gd name="connsiteY747" fmla="*/ 700721 h 6706386"/>
              <a:gd name="connsiteX748" fmla="*/ 6738813 w 9907829"/>
              <a:gd name="connsiteY748" fmla="*/ 461149 h 6706386"/>
              <a:gd name="connsiteX749" fmla="*/ 6978385 w 9907829"/>
              <a:gd name="connsiteY749" fmla="*/ 700721 h 6706386"/>
              <a:gd name="connsiteX750" fmla="*/ 6811392 w 9907829"/>
              <a:gd name="connsiteY750" fmla="*/ 929373 h 6706386"/>
              <a:gd name="connsiteX751" fmla="*/ 7023345 w 9907829"/>
              <a:gd name="connsiteY751" fmla="*/ 1077739 h 6706386"/>
              <a:gd name="connsiteX752" fmla="*/ 7296315 w 9907829"/>
              <a:gd name="connsiteY752" fmla="*/ 930657 h 6706386"/>
              <a:gd name="connsiteX753" fmla="*/ 7587268 w 9907829"/>
              <a:gd name="connsiteY753" fmla="*/ 1107927 h 6706386"/>
              <a:gd name="connsiteX754" fmla="*/ 7853172 w 9907829"/>
              <a:gd name="connsiteY754" fmla="*/ 952495 h 6706386"/>
              <a:gd name="connsiteX755" fmla="*/ 8149905 w 9907829"/>
              <a:gd name="connsiteY755" fmla="*/ 1185001 h 6706386"/>
              <a:gd name="connsiteX756" fmla="*/ 8410029 w 9907829"/>
              <a:gd name="connsiteY756" fmla="*/ 987177 h 6706386"/>
              <a:gd name="connsiteX757" fmla="*/ 8680430 w 9907829"/>
              <a:gd name="connsiteY757" fmla="*/ 1257578 h 6706386"/>
              <a:gd name="connsiteX758" fmla="*/ 8552616 w 9907829"/>
              <a:gd name="connsiteY758" fmla="*/ 1487515 h 6706386"/>
              <a:gd name="connsiteX759" fmla="*/ 8714472 w 9907829"/>
              <a:gd name="connsiteY759" fmla="*/ 1628817 h 6706386"/>
              <a:gd name="connsiteX760" fmla="*/ 8966887 w 9907829"/>
              <a:gd name="connsiteY760" fmla="*/ 1501646 h 6706386"/>
              <a:gd name="connsiteX761" fmla="*/ 9274540 w 9907829"/>
              <a:gd name="connsiteY761" fmla="*/ 1754704 h 6706386"/>
              <a:gd name="connsiteX762" fmla="*/ 9523745 w 9907829"/>
              <a:gd name="connsiteY762" fmla="*/ 1558166 h 6706386"/>
              <a:gd name="connsiteX763" fmla="*/ 9780658 w 9907829"/>
              <a:gd name="connsiteY763" fmla="*/ 1815078 h 6706386"/>
              <a:gd name="connsiteX764" fmla="*/ 9616877 w 9907829"/>
              <a:gd name="connsiteY764" fmla="*/ 2054007 h 6706386"/>
              <a:gd name="connsiteX765" fmla="*/ 9835252 w 9907829"/>
              <a:gd name="connsiteY765" fmla="*/ 2258894 h 6706386"/>
              <a:gd name="connsiteX766" fmla="*/ 9907186 w 9907829"/>
              <a:gd name="connsiteY766" fmla="*/ 2165122 h 6706386"/>
              <a:gd name="connsiteX767" fmla="*/ 9907186 w 9907829"/>
              <a:gd name="connsiteY767" fmla="*/ 6706386 h 6706386"/>
              <a:gd name="connsiteX768" fmla="*/ 1456023 w 9907829"/>
              <a:gd name="connsiteY768" fmla="*/ 6706386 h 6706386"/>
              <a:gd name="connsiteX769" fmla="*/ 1475320 w 9907829"/>
              <a:gd name="connsiteY769" fmla="*/ 6664783 h 6706386"/>
              <a:gd name="connsiteX770" fmla="*/ 1600564 w 9907829"/>
              <a:gd name="connsiteY770" fmla="*/ 6556398 h 6706386"/>
              <a:gd name="connsiteX771" fmla="*/ 1414303 w 9907829"/>
              <a:gd name="connsiteY771" fmla="*/ 6270583 h 6706386"/>
              <a:gd name="connsiteX772" fmla="*/ 1583865 w 9907829"/>
              <a:gd name="connsiteY772" fmla="*/ 5993117 h 6706386"/>
              <a:gd name="connsiteX773" fmla="*/ 1412376 w 9907829"/>
              <a:gd name="connsiteY773" fmla="*/ 5713725 h 6706386"/>
              <a:gd name="connsiteX774" fmla="*/ 1587719 w 9907829"/>
              <a:gd name="connsiteY774" fmla="*/ 5432406 h 6706386"/>
              <a:gd name="connsiteX775" fmla="*/ 1418157 w 9907829"/>
              <a:gd name="connsiteY775" fmla="*/ 5156867 h 6706386"/>
              <a:gd name="connsiteX776" fmla="*/ 1622402 w 9907829"/>
              <a:gd name="connsiteY776" fmla="*/ 4866556 h 6706386"/>
              <a:gd name="connsiteX777" fmla="*/ 1439994 w 9907829"/>
              <a:gd name="connsiteY777" fmla="*/ 4600009 h 6706386"/>
              <a:gd name="connsiteX778" fmla="*/ 1726452 w 9907829"/>
              <a:gd name="connsiteY778" fmla="*/ 4313552 h 6706386"/>
              <a:gd name="connsiteX779" fmla="*/ 1952535 w 9907829"/>
              <a:gd name="connsiteY779" fmla="*/ 4424666 h 6706386"/>
              <a:gd name="connsiteX780" fmla="*/ 2056584 w 9907829"/>
              <a:gd name="connsiteY780" fmla="*/ 4301991 h 6706386"/>
              <a:gd name="connsiteX781" fmla="*/ 1957032 w 9907829"/>
              <a:gd name="connsiteY781" fmla="*/ 4152981 h 6706386"/>
              <a:gd name="connsiteX782" fmla="*/ 1726452 w 9907829"/>
              <a:gd name="connsiteY782" fmla="*/ 4298780 h 6706386"/>
              <a:gd name="connsiteX783" fmla="*/ 1470824 w 9907829"/>
              <a:gd name="connsiteY783" fmla="*/ 4043152 h 6706386"/>
              <a:gd name="connsiteX784" fmla="*/ 1726452 w 9907829"/>
              <a:gd name="connsiteY784" fmla="*/ 3787524 h 6706386"/>
              <a:gd name="connsiteX785" fmla="*/ 1957032 w 9907829"/>
              <a:gd name="connsiteY785" fmla="*/ 3933321 h 6706386"/>
              <a:gd name="connsiteX786" fmla="*/ 2116959 w 9907829"/>
              <a:gd name="connsiteY786" fmla="*/ 3741280 h 6706386"/>
              <a:gd name="connsiteX787" fmla="*/ 1978227 w 9907829"/>
              <a:gd name="connsiteY787" fmla="*/ 3485652 h 6706386"/>
              <a:gd name="connsiteX788" fmla="*/ 2283309 w 9907829"/>
              <a:gd name="connsiteY788" fmla="*/ 3180568 h 6706386"/>
              <a:gd name="connsiteX789" fmla="*/ 2516458 w 9907829"/>
              <a:gd name="connsiteY789" fmla="*/ 3289114 h 6706386"/>
              <a:gd name="connsiteX790" fmla="*/ 2622434 w 9907829"/>
              <a:gd name="connsiteY790" fmla="*/ 3177999 h 6706386"/>
              <a:gd name="connsiteX791" fmla="*/ 2520311 w 9907829"/>
              <a:gd name="connsiteY791" fmla="*/ 3009721 h 6706386"/>
              <a:gd name="connsiteX792" fmla="*/ 2283309 w 9907829"/>
              <a:gd name="connsiteY792" fmla="*/ 3180568 h 6706386"/>
              <a:gd name="connsiteX793" fmla="*/ 2032820 w 9907829"/>
              <a:gd name="connsiteY793" fmla="*/ 2930079 h 6706386"/>
              <a:gd name="connsiteX794" fmla="*/ 2283309 w 9907829"/>
              <a:gd name="connsiteY794" fmla="*/ 2679589 h 6706386"/>
              <a:gd name="connsiteX795" fmla="*/ 2520311 w 9907829"/>
              <a:gd name="connsiteY795" fmla="*/ 2850436 h 6706386"/>
              <a:gd name="connsiteX796" fmla="*/ 2732265 w 9907829"/>
              <a:gd name="connsiteY796" fmla="*/ 2617930 h 6706386"/>
              <a:gd name="connsiteX797" fmla="*/ 2571694 w 9907829"/>
              <a:gd name="connsiteY797" fmla="*/ 2371936 h 6706386"/>
              <a:gd name="connsiteX798" fmla="*/ 2840168 w 9907829"/>
              <a:gd name="connsiteY798" fmla="*/ 2103463 h 6706386"/>
              <a:gd name="connsiteX799" fmla="*/ 3084876 w 9907829"/>
              <a:gd name="connsiteY799" fmla="*/ 2261464 h 6706386"/>
              <a:gd name="connsiteX800" fmla="*/ 3303897 w 9907829"/>
              <a:gd name="connsiteY800" fmla="*/ 2054007 h 6706386"/>
              <a:gd name="connsiteX801" fmla="*/ 3140113 w 9907829"/>
              <a:gd name="connsiteY801" fmla="*/ 1815078 h 6706386"/>
              <a:gd name="connsiteX802" fmla="*/ 3397026 w 9907829"/>
              <a:gd name="connsiteY802" fmla="*/ 1558166 h 6706386"/>
              <a:gd name="connsiteX803" fmla="*/ 3646231 w 9907829"/>
              <a:gd name="connsiteY803" fmla="*/ 1754704 h 6706386"/>
              <a:gd name="connsiteX804" fmla="*/ 3953882 w 9907829"/>
              <a:gd name="connsiteY804" fmla="*/ 1501646 h 6706386"/>
              <a:gd name="connsiteX805" fmla="*/ 4206301 w 9907829"/>
              <a:gd name="connsiteY805" fmla="*/ 1628817 h 6706386"/>
              <a:gd name="connsiteX806" fmla="*/ 4368154 w 9907829"/>
              <a:gd name="connsiteY806" fmla="*/ 1487515 h 6706386"/>
              <a:gd name="connsiteX807" fmla="*/ 4240341 w 9907829"/>
              <a:gd name="connsiteY807" fmla="*/ 1257578 h 6706386"/>
              <a:gd name="connsiteX808" fmla="*/ 4510741 w 9907829"/>
              <a:gd name="connsiteY808" fmla="*/ 987177 h 6706386"/>
              <a:gd name="connsiteX809" fmla="*/ 4770864 w 9907829"/>
              <a:gd name="connsiteY809" fmla="*/ 1185001 h 6706386"/>
              <a:gd name="connsiteX810" fmla="*/ 5067599 w 9907829"/>
              <a:gd name="connsiteY810" fmla="*/ 952495 h 6706386"/>
              <a:gd name="connsiteX811" fmla="*/ 5333505 w 9907829"/>
              <a:gd name="connsiteY811" fmla="*/ 1107927 h 6706386"/>
              <a:gd name="connsiteX812" fmla="*/ 5624456 w 9907829"/>
              <a:gd name="connsiteY812" fmla="*/ 930657 h 6706386"/>
              <a:gd name="connsiteX813" fmla="*/ 5897426 w 9907829"/>
              <a:gd name="connsiteY813" fmla="*/ 1077739 h 6706386"/>
              <a:gd name="connsiteX814" fmla="*/ 6109379 w 9907829"/>
              <a:gd name="connsiteY814" fmla="*/ 929373 h 6706386"/>
              <a:gd name="connsiteX815" fmla="*/ 5942386 w 9907829"/>
              <a:gd name="connsiteY815" fmla="*/ 700721 h 6706386"/>
              <a:gd name="connsiteX816" fmla="*/ 6181956 w 9907829"/>
              <a:gd name="connsiteY816" fmla="*/ 461149 h 6706386"/>
              <a:gd name="connsiteX817" fmla="*/ 2840168 w 9907829"/>
              <a:gd name="connsiteY817" fmla="*/ 113689 h 6706386"/>
              <a:gd name="connsiteX818" fmla="*/ 2869713 w 9907829"/>
              <a:gd name="connsiteY818" fmla="*/ 143233 h 6706386"/>
              <a:gd name="connsiteX819" fmla="*/ 2869581 w 9907829"/>
              <a:gd name="connsiteY819" fmla="*/ 143551 h 6706386"/>
              <a:gd name="connsiteX820" fmla="*/ 2869713 w 9907829"/>
              <a:gd name="connsiteY820" fmla="*/ 143871 h 6706386"/>
              <a:gd name="connsiteX821" fmla="*/ 2840168 w 9907829"/>
              <a:gd name="connsiteY821" fmla="*/ 173415 h 6706386"/>
              <a:gd name="connsiteX822" fmla="*/ 2810622 w 9907829"/>
              <a:gd name="connsiteY822" fmla="*/ 143871 h 6706386"/>
              <a:gd name="connsiteX823" fmla="*/ 2810753 w 9907829"/>
              <a:gd name="connsiteY823" fmla="*/ 143551 h 6706386"/>
              <a:gd name="connsiteX824" fmla="*/ 2810622 w 9907829"/>
              <a:gd name="connsiteY824" fmla="*/ 143233 h 6706386"/>
              <a:gd name="connsiteX825" fmla="*/ 2840168 w 9907829"/>
              <a:gd name="connsiteY825" fmla="*/ 113689 h 6706386"/>
              <a:gd name="connsiteX826" fmla="*/ 3397667 w 9907829"/>
              <a:gd name="connsiteY826" fmla="*/ 93779 h 6706386"/>
              <a:gd name="connsiteX827" fmla="*/ 3447123 w 9907829"/>
              <a:gd name="connsiteY827" fmla="*/ 143233 h 6706386"/>
              <a:gd name="connsiteX828" fmla="*/ 3446990 w 9907829"/>
              <a:gd name="connsiteY828" fmla="*/ 143553 h 6706386"/>
              <a:gd name="connsiteX829" fmla="*/ 3447123 w 9907829"/>
              <a:gd name="connsiteY829" fmla="*/ 143871 h 6706386"/>
              <a:gd name="connsiteX830" fmla="*/ 3397667 w 9907829"/>
              <a:gd name="connsiteY830" fmla="*/ 193326 h 6706386"/>
              <a:gd name="connsiteX831" fmla="*/ 3348213 w 9907829"/>
              <a:gd name="connsiteY831" fmla="*/ 143871 h 6706386"/>
              <a:gd name="connsiteX832" fmla="*/ 3348344 w 9907829"/>
              <a:gd name="connsiteY832" fmla="*/ 143553 h 6706386"/>
              <a:gd name="connsiteX833" fmla="*/ 3348213 w 9907829"/>
              <a:gd name="connsiteY833" fmla="*/ 143233 h 6706386"/>
              <a:gd name="connsiteX834" fmla="*/ 3397667 w 9907829"/>
              <a:gd name="connsiteY834" fmla="*/ 93779 h 6706386"/>
              <a:gd name="connsiteX835" fmla="*/ 3954524 w 9907829"/>
              <a:gd name="connsiteY835" fmla="*/ 71299 h 6706386"/>
              <a:gd name="connsiteX836" fmla="*/ 4026460 w 9907829"/>
              <a:gd name="connsiteY836" fmla="*/ 143235 h 6706386"/>
              <a:gd name="connsiteX837" fmla="*/ 4026397 w 9907829"/>
              <a:gd name="connsiteY837" fmla="*/ 143553 h 6706386"/>
              <a:gd name="connsiteX838" fmla="*/ 4026460 w 9907829"/>
              <a:gd name="connsiteY838" fmla="*/ 143871 h 6706386"/>
              <a:gd name="connsiteX839" fmla="*/ 3954524 w 9907829"/>
              <a:gd name="connsiteY839" fmla="*/ 215806 h 6706386"/>
              <a:gd name="connsiteX840" fmla="*/ 3882590 w 9907829"/>
              <a:gd name="connsiteY840" fmla="*/ 143871 h 6706386"/>
              <a:gd name="connsiteX841" fmla="*/ 3882654 w 9907829"/>
              <a:gd name="connsiteY841" fmla="*/ 143553 h 6706386"/>
              <a:gd name="connsiteX842" fmla="*/ 3882590 w 9907829"/>
              <a:gd name="connsiteY842" fmla="*/ 143235 h 6706386"/>
              <a:gd name="connsiteX843" fmla="*/ 3954524 w 9907829"/>
              <a:gd name="connsiteY843" fmla="*/ 71299 h 6706386"/>
              <a:gd name="connsiteX844" fmla="*/ 4511383 w 9907829"/>
              <a:gd name="connsiteY844" fmla="*/ 47529 h 6706386"/>
              <a:gd name="connsiteX845" fmla="*/ 4607725 w 9907829"/>
              <a:gd name="connsiteY845" fmla="*/ 143871 h 6706386"/>
              <a:gd name="connsiteX846" fmla="*/ 4607725 w 9907829"/>
              <a:gd name="connsiteY846" fmla="*/ 143873 h 6706386"/>
              <a:gd name="connsiteX847" fmla="*/ 4607725 w 9907829"/>
              <a:gd name="connsiteY847" fmla="*/ 143877 h 6706386"/>
              <a:gd name="connsiteX848" fmla="*/ 4511383 w 9907829"/>
              <a:gd name="connsiteY848" fmla="*/ 240219 h 6706386"/>
              <a:gd name="connsiteX849" fmla="*/ 4415041 w 9907829"/>
              <a:gd name="connsiteY849" fmla="*/ 143877 h 6706386"/>
              <a:gd name="connsiteX850" fmla="*/ 4415042 w 9907829"/>
              <a:gd name="connsiteY850" fmla="*/ 143873 h 6706386"/>
              <a:gd name="connsiteX851" fmla="*/ 4415041 w 9907829"/>
              <a:gd name="connsiteY851" fmla="*/ 143871 h 6706386"/>
              <a:gd name="connsiteX852" fmla="*/ 4511383 w 9907829"/>
              <a:gd name="connsiteY852" fmla="*/ 47529 h 6706386"/>
              <a:gd name="connsiteX853" fmla="*/ 5068241 w 9907829"/>
              <a:gd name="connsiteY853" fmla="*/ 26334 h 6706386"/>
              <a:gd name="connsiteX854" fmla="*/ 5185778 w 9907829"/>
              <a:gd name="connsiteY854" fmla="*/ 143871 h 6706386"/>
              <a:gd name="connsiteX855" fmla="*/ 5185778 w 9907829"/>
              <a:gd name="connsiteY855" fmla="*/ 143874 h 6706386"/>
              <a:gd name="connsiteX856" fmla="*/ 5185778 w 9907829"/>
              <a:gd name="connsiteY856" fmla="*/ 143877 h 6706386"/>
              <a:gd name="connsiteX857" fmla="*/ 5068241 w 9907829"/>
              <a:gd name="connsiteY857" fmla="*/ 261414 h 6706386"/>
              <a:gd name="connsiteX858" fmla="*/ 4950704 w 9907829"/>
              <a:gd name="connsiteY858" fmla="*/ 143877 h 6706386"/>
              <a:gd name="connsiteX859" fmla="*/ 4950705 w 9907829"/>
              <a:gd name="connsiteY859" fmla="*/ 143874 h 6706386"/>
              <a:gd name="connsiteX860" fmla="*/ 4950704 w 9907829"/>
              <a:gd name="connsiteY860" fmla="*/ 143871 h 6706386"/>
              <a:gd name="connsiteX861" fmla="*/ 4950925 w 9907829"/>
              <a:gd name="connsiteY861" fmla="*/ 142777 h 6706386"/>
              <a:gd name="connsiteX862" fmla="*/ 4959946 w 9907829"/>
              <a:gd name="connsiteY862" fmla="*/ 97875 h 6706386"/>
              <a:gd name="connsiteX863" fmla="*/ 5022508 w 9907829"/>
              <a:gd name="connsiteY863" fmla="*/ 35492 h 6706386"/>
              <a:gd name="connsiteX864" fmla="*/ 5064898 w 9907829"/>
              <a:gd name="connsiteY864" fmla="*/ 27009 h 6706386"/>
              <a:gd name="connsiteX865" fmla="*/ 7296313 w 9907829"/>
              <a:gd name="connsiteY865" fmla="*/ 10283 h 6706386"/>
              <a:gd name="connsiteX866" fmla="*/ 7429266 w 9907829"/>
              <a:gd name="connsiteY866" fmla="*/ 143235 h 6706386"/>
              <a:gd name="connsiteX867" fmla="*/ 7429201 w 9907829"/>
              <a:gd name="connsiteY867" fmla="*/ 143553 h 6706386"/>
              <a:gd name="connsiteX868" fmla="*/ 7429266 w 9907829"/>
              <a:gd name="connsiteY868" fmla="*/ 143871 h 6706386"/>
              <a:gd name="connsiteX869" fmla="*/ 7296313 w 9907829"/>
              <a:gd name="connsiteY869" fmla="*/ 276822 h 6706386"/>
              <a:gd name="connsiteX870" fmla="*/ 7163362 w 9907829"/>
              <a:gd name="connsiteY870" fmla="*/ 143871 h 6706386"/>
              <a:gd name="connsiteX871" fmla="*/ 7163425 w 9907829"/>
              <a:gd name="connsiteY871" fmla="*/ 143553 h 6706386"/>
              <a:gd name="connsiteX872" fmla="*/ 7163362 w 9907829"/>
              <a:gd name="connsiteY872" fmla="*/ 143235 h 6706386"/>
              <a:gd name="connsiteX873" fmla="*/ 7296313 w 9907829"/>
              <a:gd name="connsiteY873" fmla="*/ 10283 h 6706386"/>
              <a:gd name="connsiteX874" fmla="*/ 5625740 w 9907829"/>
              <a:gd name="connsiteY874" fmla="*/ 10283 h 6706386"/>
              <a:gd name="connsiteX875" fmla="*/ 5758691 w 9907829"/>
              <a:gd name="connsiteY875" fmla="*/ 143234 h 6706386"/>
              <a:gd name="connsiteX876" fmla="*/ 5758627 w 9907829"/>
              <a:gd name="connsiteY876" fmla="*/ 143553 h 6706386"/>
              <a:gd name="connsiteX877" fmla="*/ 5758691 w 9907829"/>
              <a:gd name="connsiteY877" fmla="*/ 143871 h 6706386"/>
              <a:gd name="connsiteX878" fmla="*/ 5625740 w 9907829"/>
              <a:gd name="connsiteY878" fmla="*/ 276822 h 6706386"/>
              <a:gd name="connsiteX879" fmla="*/ 5492788 w 9907829"/>
              <a:gd name="connsiteY879" fmla="*/ 143871 h 6706386"/>
              <a:gd name="connsiteX880" fmla="*/ 5492852 w 9907829"/>
              <a:gd name="connsiteY880" fmla="*/ 143553 h 6706386"/>
              <a:gd name="connsiteX881" fmla="*/ 5492788 w 9907829"/>
              <a:gd name="connsiteY881" fmla="*/ 143234 h 6706386"/>
              <a:gd name="connsiteX882" fmla="*/ 5625740 w 9907829"/>
              <a:gd name="connsiteY882" fmla="*/ 10283 h 6706386"/>
              <a:gd name="connsiteX883" fmla="*/ 6182597 w 9907829"/>
              <a:gd name="connsiteY883" fmla="*/ 1 h 6706386"/>
              <a:gd name="connsiteX884" fmla="*/ 6325827 w 9907829"/>
              <a:gd name="connsiteY884" fmla="*/ 143228 h 6706386"/>
              <a:gd name="connsiteX885" fmla="*/ 6325761 w 9907829"/>
              <a:gd name="connsiteY885" fmla="*/ 143553 h 6706386"/>
              <a:gd name="connsiteX886" fmla="*/ 6325827 w 9907829"/>
              <a:gd name="connsiteY886" fmla="*/ 143876 h 6706386"/>
              <a:gd name="connsiteX887" fmla="*/ 6182597 w 9907829"/>
              <a:gd name="connsiteY887" fmla="*/ 287105 h 6706386"/>
              <a:gd name="connsiteX888" fmla="*/ 6039369 w 9907829"/>
              <a:gd name="connsiteY888" fmla="*/ 143876 h 6706386"/>
              <a:gd name="connsiteX889" fmla="*/ 6039435 w 9907829"/>
              <a:gd name="connsiteY889" fmla="*/ 143554 h 6706386"/>
              <a:gd name="connsiteX890" fmla="*/ 6039369 w 9907829"/>
              <a:gd name="connsiteY890" fmla="*/ 143228 h 6706386"/>
              <a:gd name="connsiteX891" fmla="*/ 6182597 w 9907829"/>
              <a:gd name="connsiteY891" fmla="*/ 1 h 6706386"/>
              <a:gd name="connsiteX892" fmla="*/ 6739456 w 9907829"/>
              <a:gd name="connsiteY892" fmla="*/ 0 h 6706386"/>
              <a:gd name="connsiteX893" fmla="*/ 6882684 w 9907829"/>
              <a:gd name="connsiteY893" fmla="*/ 143228 h 6706386"/>
              <a:gd name="connsiteX894" fmla="*/ 6882619 w 9907829"/>
              <a:gd name="connsiteY894" fmla="*/ 143553 h 6706386"/>
              <a:gd name="connsiteX895" fmla="*/ 6882684 w 9907829"/>
              <a:gd name="connsiteY895" fmla="*/ 143877 h 6706386"/>
              <a:gd name="connsiteX896" fmla="*/ 6739456 w 9907829"/>
              <a:gd name="connsiteY896" fmla="*/ 287105 h 6706386"/>
              <a:gd name="connsiteX897" fmla="*/ 6596227 w 9907829"/>
              <a:gd name="connsiteY897" fmla="*/ 143877 h 6706386"/>
              <a:gd name="connsiteX898" fmla="*/ 6596293 w 9907829"/>
              <a:gd name="connsiteY898" fmla="*/ 143554 h 6706386"/>
              <a:gd name="connsiteX899" fmla="*/ 6596227 w 9907829"/>
              <a:gd name="connsiteY899" fmla="*/ 143228 h 6706386"/>
              <a:gd name="connsiteX900" fmla="*/ 6739456 w 9907829"/>
              <a:gd name="connsiteY900" fmla="*/ 0 h 67063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Lst>
            <a:rect l="l" t="t" r="r" b="b"/>
            <a:pathLst>
              <a:path w="9907829" h="6706386">
                <a:moveTo>
                  <a:pt x="1169593" y="6629618"/>
                </a:moveTo>
                <a:cubicBezTo>
                  <a:pt x="1224187" y="6629618"/>
                  <a:pt x="1273643" y="6651777"/>
                  <a:pt x="1309450" y="6687585"/>
                </a:cubicBezTo>
                <a:lnTo>
                  <a:pt x="1322130" y="6706386"/>
                </a:lnTo>
                <a:lnTo>
                  <a:pt x="1017056" y="6706386"/>
                </a:lnTo>
                <a:lnTo>
                  <a:pt x="1029737" y="6687585"/>
                </a:lnTo>
                <a:cubicBezTo>
                  <a:pt x="1065544" y="6651777"/>
                  <a:pt x="1115000" y="6629618"/>
                  <a:pt x="1169593" y="6629618"/>
                </a:cubicBezTo>
                <a:close/>
                <a:moveTo>
                  <a:pt x="55237" y="6215347"/>
                </a:moveTo>
                <a:lnTo>
                  <a:pt x="55307" y="6215361"/>
                </a:lnTo>
                <a:lnTo>
                  <a:pt x="76965" y="6219732"/>
                </a:lnTo>
                <a:cubicBezTo>
                  <a:pt x="96985" y="6228192"/>
                  <a:pt x="110954" y="6247944"/>
                  <a:pt x="110472" y="6270583"/>
                </a:cubicBezTo>
                <a:cubicBezTo>
                  <a:pt x="111115" y="6301414"/>
                  <a:pt x="86068" y="6325821"/>
                  <a:pt x="55237" y="6325821"/>
                </a:cubicBezTo>
                <a:cubicBezTo>
                  <a:pt x="47690" y="6325821"/>
                  <a:pt x="40465" y="6324295"/>
                  <a:pt x="33871" y="6321525"/>
                </a:cubicBezTo>
                <a:lnTo>
                  <a:pt x="33795" y="6321474"/>
                </a:lnTo>
                <a:lnTo>
                  <a:pt x="33600" y="6321435"/>
                </a:lnTo>
                <a:lnTo>
                  <a:pt x="24284" y="6315109"/>
                </a:lnTo>
                <a:lnTo>
                  <a:pt x="16299" y="6309763"/>
                </a:lnTo>
                <a:lnTo>
                  <a:pt x="16253" y="6309654"/>
                </a:lnTo>
                <a:lnTo>
                  <a:pt x="16058" y="6309523"/>
                </a:lnTo>
                <a:cubicBezTo>
                  <a:pt x="6103" y="6299486"/>
                  <a:pt x="0" y="6285676"/>
                  <a:pt x="0" y="6270583"/>
                </a:cubicBezTo>
                <a:cubicBezTo>
                  <a:pt x="0" y="6255489"/>
                  <a:pt x="6103" y="6241681"/>
                  <a:pt x="16058" y="6231646"/>
                </a:cubicBezTo>
                <a:lnTo>
                  <a:pt x="16253" y="6231513"/>
                </a:lnTo>
                <a:lnTo>
                  <a:pt x="16299" y="6231404"/>
                </a:lnTo>
                <a:lnTo>
                  <a:pt x="24276" y="6226065"/>
                </a:lnTo>
                <a:lnTo>
                  <a:pt x="33600" y="6219732"/>
                </a:lnTo>
                <a:lnTo>
                  <a:pt x="33795" y="6219693"/>
                </a:lnTo>
                <a:lnTo>
                  <a:pt x="33871" y="6219642"/>
                </a:lnTo>
                <a:lnTo>
                  <a:pt x="55202" y="6215355"/>
                </a:lnTo>
                <a:close/>
                <a:moveTo>
                  <a:pt x="612736" y="6148550"/>
                </a:moveTo>
                <a:cubicBezTo>
                  <a:pt x="680176" y="6148550"/>
                  <a:pt x="734770" y="6203144"/>
                  <a:pt x="734770" y="6270583"/>
                </a:cubicBezTo>
                <a:cubicBezTo>
                  <a:pt x="734770" y="6338023"/>
                  <a:pt x="680176" y="6392617"/>
                  <a:pt x="612736" y="6392617"/>
                </a:cubicBezTo>
                <a:cubicBezTo>
                  <a:pt x="545297" y="6392617"/>
                  <a:pt x="490703" y="6338023"/>
                  <a:pt x="490703" y="6270583"/>
                </a:cubicBezTo>
                <a:cubicBezTo>
                  <a:pt x="490703" y="6203144"/>
                  <a:pt x="545297" y="6148550"/>
                  <a:pt x="612736" y="6148550"/>
                </a:cubicBezTo>
                <a:close/>
                <a:moveTo>
                  <a:pt x="1169594" y="6059273"/>
                </a:moveTo>
                <a:cubicBezTo>
                  <a:pt x="1286489" y="6059273"/>
                  <a:pt x="1380904" y="6153688"/>
                  <a:pt x="1380904" y="6270583"/>
                </a:cubicBezTo>
                <a:lnTo>
                  <a:pt x="1380838" y="6270905"/>
                </a:lnTo>
                <a:lnTo>
                  <a:pt x="1380904" y="6271227"/>
                </a:lnTo>
                <a:cubicBezTo>
                  <a:pt x="1380904" y="6388121"/>
                  <a:pt x="1286489" y="6482537"/>
                  <a:pt x="1169594" y="6482537"/>
                </a:cubicBezTo>
                <a:cubicBezTo>
                  <a:pt x="1052699" y="6482537"/>
                  <a:pt x="958283" y="6387479"/>
                  <a:pt x="958283" y="6271227"/>
                </a:cubicBezTo>
                <a:lnTo>
                  <a:pt x="958349" y="6270905"/>
                </a:lnTo>
                <a:lnTo>
                  <a:pt x="958283" y="6270583"/>
                </a:lnTo>
                <a:cubicBezTo>
                  <a:pt x="958283" y="6153688"/>
                  <a:pt x="1052699" y="6059273"/>
                  <a:pt x="1169594" y="6059273"/>
                </a:cubicBezTo>
                <a:close/>
                <a:moveTo>
                  <a:pt x="55237" y="5658490"/>
                </a:moveTo>
                <a:lnTo>
                  <a:pt x="55274" y="5658497"/>
                </a:lnTo>
                <a:lnTo>
                  <a:pt x="76604" y="5662785"/>
                </a:lnTo>
                <a:lnTo>
                  <a:pt x="76679" y="5662836"/>
                </a:lnTo>
                <a:lnTo>
                  <a:pt x="76875" y="5662875"/>
                </a:lnTo>
                <a:lnTo>
                  <a:pt x="86311" y="5669282"/>
                </a:lnTo>
                <a:lnTo>
                  <a:pt x="94175" y="5674547"/>
                </a:lnTo>
                <a:lnTo>
                  <a:pt x="94219" y="5674653"/>
                </a:lnTo>
                <a:lnTo>
                  <a:pt x="94417" y="5674787"/>
                </a:lnTo>
                <a:cubicBezTo>
                  <a:pt x="104372" y="5684823"/>
                  <a:pt x="110472" y="5698632"/>
                  <a:pt x="110472" y="5713725"/>
                </a:cubicBezTo>
                <a:cubicBezTo>
                  <a:pt x="110472" y="5728819"/>
                  <a:pt x="104372" y="5742628"/>
                  <a:pt x="94417" y="5752664"/>
                </a:cubicBezTo>
                <a:lnTo>
                  <a:pt x="94219" y="5752798"/>
                </a:lnTo>
                <a:lnTo>
                  <a:pt x="94175" y="5752904"/>
                </a:lnTo>
                <a:lnTo>
                  <a:pt x="86269" y="5758197"/>
                </a:lnTo>
                <a:lnTo>
                  <a:pt x="76874" y="5764576"/>
                </a:lnTo>
                <a:lnTo>
                  <a:pt x="76679" y="5764616"/>
                </a:lnTo>
                <a:lnTo>
                  <a:pt x="76604" y="5764666"/>
                </a:lnTo>
                <a:cubicBezTo>
                  <a:pt x="70010" y="5767437"/>
                  <a:pt x="62784" y="5768962"/>
                  <a:pt x="55237" y="5768962"/>
                </a:cubicBezTo>
                <a:cubicBezTo>
                  <a:pt x="47690" y="5768962"/>
                  <a:pt x="40465" y="5767437"/>
                  <a:pt x="33871" y="5764666"/>
                </a:cubicBezTo>
                <a:lnTo>
                  <a:pt x="33795" y="5764616"/>
                </a:lnTo>
                <a:lnTo>
                  <a:pt x="33600" y="5764576"/>
                </a:lnTo>
                <a:lnTo>
                  <a:pt x="24251" y="5758228"/>
                </a:lnTo>
                <a:lnTo>
                  <a:pt x="16299" y="5752904"/>
                </a:lnTo>
                <a:lnTo>
                  <a:pt x="16255" y="5752797"/>
                </a:lnTo>
                <a:lnTo>
                  <a:pt x="16058" y="5752664"/>
                </a:lnTo>
                <a:cubicBezTo>
                  <a:pt x="6103" y="5742628"/>
                  <a:pt x="0" y="5728819"/>
                  <a:pt x="0" y="5713725"/>
                </a:cubicBezTo>
                <a:cubicBezTo>
                  <a:pt x="0" y="5698632"/>
                  <a:pt x="6103" y="5684823"/>
                  <a:pt x="16058" y="5674787"/>
                </a:cubicBezTo>
                <a:lnTo>
                  <a:pt x="16255" y="5674654"/>
                </a:lnTo>
                <a:lnTo>
                  <a:pt x="16299" y="5674547"/>
                </a:lnTo>
                <a:lnTo>
                  <a:pt x="24238" y="5669234"/>
                </a:lnTo>
                <a:lnTo>
                  <a:pt x="33600" y="5662875"/>
                </a:lnTo>
                <a:lnTo>
                  <a:pt x="33795" y="5662836"/>
                </a:lnTo>
                <a:lnTo>
                  <a:pt x="33871" y="5662785"/>
                </a:lnTo>
                <a:lnTo>
                  <a:pt x="55202" y="5658497"/>
                </a:lnTo>
                <a:close/>
                <a:moveTo>
                  <a:pt x="612736" y="5590407"/>
                </a:moveTo>
                <a:cubicBezTo>
                  <a:pt x="680818" y="5590407"/>
                  <a:pt x="736054" y="5645644"/>
                  <a:pt x="736054" y="5713725"/>
                </a:cubicBezTo>
                <a:cubicBezTo>
                  <a:pt x="736054" y="5781807"/>
                  <a:pt x="680818" y="5837044"/>
                  <a:pt x="612736" y="5837044"/>
                </a:cubicBezTo>
                <a:cubicBezTo>
                  <a:pt x="544012" y="5837044"/>
                  <a:pt x="488776" y="5781807"/>
                  <a:pt x="489419" y="5713725"/>
                </a:cubicBezTo>
                <a:cubicBezTo>
                  <a:pt x="488776" y="5645644"/>
                  <a:pt x="544012" y="5590407"/>
                  <a:pt x="612736" y="5590407"/>
                </a:cubicBezTo>
                <a:close/>
                <a:moveTo>
                  <a:pt x="1163664" y="5500788"/>
                </a:moveTo>
                <a:lnTo>
                  <a:pt x="1168703" y="5501137"/>
                </a:lnTo>
                <a:lnTo>
                  <a:pt x="1169494" y="5500982"/>
                </a:lnTo>
                <a:lnTo>
                  <a:pt x="1171160" y="5501306"/>
                </a:lnTo>
                <a:lnTo>
                  <a:pt x="1205348" y="5503673"/>
                </a:lnTo>
                <a:lnTo>
                  <a:pt x="1228727" y="5512507"/>
                </a:lnTo>
                <a:lnTo>
                  <a:pt x="1249493" y="5516548"/>
                </a:lnTo>
                <a:lnTo>
                  <a:pt x="1262800" y="5525385"/>
                </a:lnTo>
                <a:lnTo>
                  <a:pt x="1281583" y="5532483"/>
                </a:lnTo>
                <a:lnTo>
                  <a:pt x="1302288" y="5551608"/>
                </a:lnTo>
                <a:lnTo>
                  <a:pt x="1319819" y="5563249"/>
                </a:lnTo>
                <a:lnTo>
                  <a:pt x="1327634" y="5575016"/>
                </a:lnTo>
                <a:lnTo>
                  <a:pt x="1341451" y="5587778"/>
                </a:lnTo>
                <a:lnTo>
                  <a:pt x="1353491" y="5613955"/>
                </a:lnTo>
                <a:lnTo>
                  <a:pt x="1366520" y="5633576"/>
                </a:lnTo>
                <a:lnTo>
                  <a:pt x="1369458" y="5648668"/>
                </a:lnTo>
                <a:lnTo>
                  <a:pt x="1376727" y="5664474"/>
                </a:lnTo>
                <a:lnTo>
                  <a:pt x="1377574" y="5690377"/>
                </a:lnTo>
                <a:lnTo>
                  <a:pt x="1382088" y="5713576"/>
                </a:lnTo>
                <a:lnTo>
                  <a:pt x="1378872" y="5730102"/>
                </a:lnTo>
                <a:lnTo>
                  <a:pt x="1379484" y="5748846"/>
                </a:lnTo>
                <a:lnTo>
                  <a:pt x="1370703" y="5772081"/>
                </a:lnTo>
                <a:lnTo>
                  <a:pt x="1366520" y="5793574"/>
                </a:lnTo>
                <a:lnTo>
                  <a:pt x="1357375" y="5807346"/>
                </a:lnTo>
                <a:lnTo>
                  <a:pt x="1350673" y="5825080"/>
                </a:lnTo>
                <a:lnTo>
                  <a:pt x="1332617" y="5844631"/>
                </a:lnTo>
                <a:lnTo>
                  <a:pt x="1319819" y="5863902"/>
                </a:lnTo>
                <a:lnTo>
                  <a:pt x="1306885" y="5872491"/>
                </a:lnTo>
                <a:lnTo>
                  <a:pt x="1295378" y="5884949"/>
                </a:lnTo>
                <a:lnTo>
                  <a:pt x="1271775" y="5895806"/>
                </a:lnTo>
                <a:lnTo>
                  <a:pt x="1249493" y="5910602"/>
                </a:lnTo>
                <a:lnTo>
                  <a:pt x="1232357" y="5913937"/>
                </a:lnTo>
                <a:lnTo>
                  <a:pt x="1218684" y="5920225"/>
                </a:lnTo>
                <a:cubicBezTo>
                  <a:pt x="1204402" y="5923598"/>
                  <a:pt x="1190114" y="5925443"/>
                  <a:pt x="1175995" y="5925867"/>
                </a:cubicBezTo>
                <a:lnTo>
                  <a:pt x="1172342" y="5925615"/>
                </a:lnTo>
                <a:lnTo>
                  <a:pt x="1169494" y="5926168"/>
                </a:lnTo>
                <a:lnTo>
                  <a:pt x="1163502" y="5925002"/>
                </a:lnTo>
                <a:lnTo>
                  <a:pt x="1134312" y="5922982"/>
                </a:lnTo>
                <a:lnTo>
                  <a:pt x="1114348" y="5915438"/>
                </a:lnTo>
                <a:lnTo>
                  <a:pt x="1089495" y="5910602"/>
                </a:lnTo>
                <a:lnTo>
                  <a:pt x="1073571" y="5900026"/>
                </a:lnTo>
                <a:lnTo>
                  <a:pt x="1058076" y="5894170"/>
                </a:lnTo>
                <a:lnTo>
                  <a:pt x="1040996" y="5878397"/>
                </a:lnTo>
                <a:lnTo>
                  <a:pt x="1019168" y="5863901"/>
                </a:lnTo>
                <a:lnTo>
                  <a:pt x="1009439" y="5849250"/>
                </a:lnTo>
                <a:lnTo>
                  <a:pt x="998208" y="5838876"/>
                </a:lnTo>
                <a:lnTo>
                  <a:pt x="988420" y="5817597"/>
                </a:lnTo>
                <a:lnTo>
                  <a:pt x="972468" y="5793574"/>
                </a:lnTo>
                <a:lnTo>
                  <a:pt x="968872" y="5775098"/>
                </a:lnTo>
                <a:lnTo>
                  <a:pt x="962932" y="5762182"/>
                </a:lnTo>
                <a:lnTo>
                  <a:pt x="962240" y="5741014"/>
                </a:lnTo>
                <a:lnTo>
                  <a:pt x="956901" y="5713576"/>
                </a:lnTo>
                <a:lnTo>
                  <a:pt x="960705" y="5694026"/>
                </a:lnTo>
                <a:lnTo>
                  <a:pt x="960175" y="5677809"/>
                </a:lnTo>
                <a:lnTo>
                  <a:pt x="967773" y="5657705"/>
                </a:lnTo>
                <a:lnTo>
                  <a:pt x="972468" y="5633577"/>
                </a:lnTo>
                <a:lnTo>
                  <a:pt x="982734" y="5618115"/>
                </a:lnTo>
                <a:lnTo>
                  <a:pt x="988986" y="5601574"/>
                </a:lnTo>
                <a:lnTo>
                  <a:pt x="1005827" y="5583340"/>
                </a:lnTo>
                <a:lnTo>
                  <a:pt x="1019168" y="5563249"/>
                </a:lnTo>
                <a:lnTo>
                  <a:pt x="1032653" y="5554295"/>
                </a:lnTo>
                <a:lnTo>
                  <a:pt x="1044281" y="5541705"/>
                </a:lnTo>
                <a:lnTo>
                  <a:pt x="1068135" y="5530733"/>
                </a:lnTo>
                <a:lnTo>
                  <a:pt x="1089496" y="5516549"/>
                </a:lnTo>
                <a:lnTo>
                  <a:pt x="1105926" y="5513352"/>
                </a:lnTo>
                <a:lnTo>
                  <a:pt x="1120975" y="5506430"/>
                </a:lnTo>
                <a:cubicBezTo>
                  <a:pt x="1135259" y="5503057"/>
                  <a:pt x="1149545" y="5501211"/>
                  <a:pt x="1163664" y="5500788"/>
                </a:cubicBezTo>
                <a:close/>
                <a:moveTo>
                  <a:pt x="55236" y="5103558"/>
                </a:moveTo>
                <a:cubicBezTo>
                  <a:pt x="84783" y="5103558"/>
                  <a:pt x="108546" y="5127323"/>
                  <a:pt x="108546" y="5156867"/>
                </a:cubicBezTo>
                <a:cubicBezTo>
                  <a:pt x="108546" y="5186412"/>
                  <a:pt x="84783" y="5210177"/>
                  <a:pt x="55236" y="5210177"/>
                </a:cubicBezTo>
                <a:cubicBezTo>
                  <a:pt x="25691" y="5210177"/>
                  <a:pt x="1928" y="5186412"/>
                  <a:pt x="1928" y="5156867"/>
                </a:cubicBezTo>
                <a:cubicBezTo>
                  <a:pt x="1928" y="5127323"/>
                  <a:pt x="25691" y="5103558"/>
                  <a:pt x="55236" y="5103558"/>
                </a:cubicBezTo>
                <a:close/>
                <a:moveTo>
                  <a:pt x="612737" y="5039330"/>
                </a:moveTo>
                <a:cubicBezTo>
                  <a:pt x="677607" y="5039330"/>
                  <a:pt x="729632" y="5091997"/>
                  <a:pt x="729632" y="5156225"/>
                </a:cubicBezTo>
                <a:lnTo>
                  <a:pt x="729567" y="5156546"/>
                </a:lnTo>
                <a:lnTo>
                  <a:pt x="729632" y="5156868"/>
                </a:lnTo>
                <a:cubicBezTo>
                  <a:pt x="729632" y="5221095"/>
                  <a:pt x="677607" y="5273763"/>
                  <a:pt x="612737" y="5273763"/>
                </a:cubicBezTo>
                <a:cubicBezTo>
                  <a:pt x="548509" y="5273763"/>
                  <a:pt x="495841" y="5221738"/>
                  <a:pt x="495841" y="5156868"/>
                </a:cubicBezTo>
                <a:lnTo>
                  <a:pt x="495906" y="5156546"/>
                </a:lnTo>
                <a:lnTo>
                  <a:pt x="495841" y="5156225"/>
                </a:lnTo>
                <a:cubicBezTo>
                  <a:pt x="495841" y="5091354"/>
                  <a:pt x="548509" y="5039330"/>
                  <a:pt x="612737" y="5039330"/>
                </a:cubicBezTo>
                <a:close/>
                <a:moveTo>
                  <a:pt x="1169613" y="4950499"/>
                </a:moveTo>
                <a:lnTo>
                  <a:pt x="1195685" y="4955573"/>
                </a:lnTo>
                <a:lnTo>
                  <a:pt x="1216778" y="4956262"/>
                </a:lnTo>
                <a:lnTo>
                  <a:pt x="1229649" y="4962181"/>
                </a:lnTo>
                <a:lnTo>
                  <a:pt x="1247196" y="4965595"/>
                </a:lnTo>
                <a:lnTo>
                  <a:pt x="1270009" y="4980745"/>
                </a:lnTo>
                <a:lnTo>
                  <a:pt x="1291155" y="4990472"/>
                </a:lnTo>
                <a:lnTo>
                  <a:pt x="1301465" y="5001633"/>
                </a:lnTo>
                <a:lnTo>
                  <a:pt x="1315397" y="5010885"/>
                </a:lnTo>
                <a:lnTo>
                  <a:pt x="1329181" y="5031642"/>
                </a:lnTo>
                <a:lnTo>
                  <a:pt x="1344780" y="5048532"/>
                </a:lnTo>
                <a:lnTo>
                  <a:pt x="1350571" y="5063854"/>
                </a:lnTo>
                <a:lnTo>
                  <a:pt x="1360687" y="5079086"/>
                </a:lnTo>
                <a:lnTo>
                  <a:pt x="1365312" y="5102861"/>
                </a:lnTo>
                <a:lnTo>
                  <a:pt x="1372721" y="5122463"/>
                </a:lnTo>
                <a:lnTo>
                  <a:pt x="1372204" y="5138277"/>
                </a:lnTo>
                <a:lnTo>
                  <a:pt x="1375783" y="5156669"/>
                </a:lnTo>
                <a:lnTo>
                  <a:pt x="1370760" y="5182484"/>
                </a:lnTo>
                <a:lnTo>
                  <a:pt x="1370047" y="5204287"/>
                </a:lnTo>
                <a:lnTo>
                  <a:pt x="1363928" y="5217591"/>
                </a:lnTo>
                <a:lnTo>
                  <a:pt x="1360687" y="5234251"/>
                </a:lnTo>
                <a:lnTo>
                  <a:pt x="1346303" y="5255911"/>
                </a:lnTo>
                <a:lnTo>
                  <a:pt x="1335838" y="5278665"/>
                </a:lnTo>
                <a:lnTo>
                  <a:pt x="1323828" y="5289757"/>
                </a:lnTo>
                <a:lnTo>
                  <a:pt x="1315397" y="5302453"/>
                </a:lnTo>
                <a:lnTo>
                  <a:pt x="1296482" y="5315014"/>
                </a:lnTo>
                <a:lnTo>
                  <a:pt x="1277778" y="5332289"/>
                </a:lnTo>
                <a:lnTo>
                  <a:pt x="1260811" y="5338701"/>
                </a:lnTo>
                <a:lnTo>
                  <a:pt x="1247196" y="5347742"/>
                </a:lnTo>
                <a:lnTo>
                  <a:pt x="1225945" y="5351877"/>
                </a:lnTo>
                <a:lnTo>
                  <a:pt x="1203846" y="5360229"/>
                </a:lnTo>
                <a:lnTo>
                  <a:pt x="1186017" y="5359647"/>
                </a:lnTo>
                <a:lnTo>
                  <a:pt x="1169613" y="5362838"/>
                </a:lnTo>
                <a:lnTo>
                  <a:pt x="1146587" y="5358358"/>
                </a:lnTo>
                <a:lnTo>
                  <a:pt x="1122022" y="5357556"/>
                </a:lnTo>
                <a:lnTo>
                  <a:pt x="1107032" y="5350662"/>
                </a:lnTo>
                <a:lnTo>
                  <a:pt x="1092031" y="5347742"/>
                </a:lnTo>
                <a:lnTo>
                  <a:pt x="1072527" y="5334791"/>
                </a:lnTo>
                <a:lnTo>
                  <a:pt x="1047644" y="5323346"/>
                </a:lnTo>
                <a:lnTo>
                  <a:pt x="1035514" y="5310212"/>
                </a:lnTo>
                <a:lnTo>
                  <a:pt x="1023829" y="5302453"/>
                </a:lnTo>
                <a:lnTo>
                  <a:pt x="1012269" y="5285044"/>
                </a:lnTo>
                <a:lnTo>
                  <a:pt x="994020" y="5265285"/>
                </a:lnTo>
                <a:lnTo>
                  <a:pt x="987246" y="5247363"/>
                </a:lnTo>
                <a:lnTo>
                  <a:pt x="978540" y="5234251"/>
                </a:lnTo>
                <a:lnTo>
                  <a:pt x="974558" y="5213789"/>
                </a:lnTo>
                <a:lnTo>
                  <a:pt x="966080" y="5191355"/>
                </a:lnTo>
                <a:lnTo>
                  <a:pt x="966671" y="5173257"/>
                </a:lnTo>
                <a:lnTo>
                  <a:pt x="963444" y="5156669"/>
                </a:lnTo>
                <a:lnTo>
                  <a:pt x="967974" y="5133385"/>
                </a:lnTo>
                <a:lnTo>
                  <a:pt x="968753" y="5109531"/>
                </a:lnTo>
                <a:lnTo>
                  <a:pt x="976245" y="5090879"/>
                </a:lnTo>
                <a:lnTo>
                  <a:pt x="978540" y="5079086"/>
                </a:lnTo>
                <a:lnTo>
                  <a:pt x="984720" y="5069781"/>
                </a:lnTo>
                <a:lnTo>
                  <a:pt x="991864" y="5051994"/>
                </a:lnTo>
                <a:lnTo>
                  <a:pt x="1017963" y="5019720"/>
                </a:lnTo>
                <a:lnTo>
                  <a:pt x="1023829" y="5010885"/>
                </a:lnTo>
                <a:lnTo>
                  <a:pt x="1026588" y="5009053"/>
                </a:lnTo>
                <a:lnTo>
                  <a:pt x="1029511" y="5005438"/>
                </a:lnTo>
                <a:cubicBezTo>
                  <a:pt x="1044109" y="4991981"/>
                  <a:pt x="1060569" y="4980701"/>
                  <a:pt x="1078330" y="4971943"/>
                </a:cubicBezTo>
                <a:lnTo>
                  <a:pt x="1086423" y="4969319"/>
                </a:lnTo>
                <a:lnTo>
                  <a:pt x="1092031" y="4965595"/>
                </a:lnTo>
                <a:lnTo>
                  <a:pt x="1106743" y="4962733"/>
                </a:lnTo>
                <a:lnTo>
                  <a:pt x="1134954" y="4953588"/>
                </a:lnTo>
                <a:lnTo>
                  <a:pt x="1151038" y="4954113"/>
                </a:lnTo>
                <a:close/>
                <a:moveTo>
                  <a:pt x="55236" y="4551839"/>
                </a:moveTo>
                <a:cubicBezTo>
                  <a:pt x="81571" y="4551839"/>
                  <a:pt x="102766" y="4573034"/>
                  <a:pt x="102766" y="4599368"/>
                </a:cubicBezTo>
                <a:lnTo>
                  <a:pt x="102633" y="4599689"/>
                </a:lnTo>
                <a:lnTo>
                  <a:pt x="102766" y="4600011"/>
                </a:lnTo>
                <a:cubicBezTo>
                  <a:pt x="102766" y="4626344"/>
                  <a:pt x="81571" y="4647540"/>
                  <a:pt x="55236" y="4647540"/>
                </a:cubicBezTo>
                <a:cubicBezTo>
                  <a:pt x="28903" y="4647540"/>
                  <a:pt x="7709" y="4626344"/>
                  <a:pt x="7709" y="4600011"/>
                </a:cubicBezTo>
                <a:lnTo>
                  <a:pt x="7841" y="4599690"/>
                </a:lnTo>
                <a:lnTo>
                  <a:pt x="7709" y="4599368"/>
                </a:lnTo>
                <a:cubicBezTo>
                  <a:pt x="7709" y="4573034"/>
                  <a:pt x="28903" y="4551839"/>
                  <a:pt x="55236" y="4551839"/>
                </a:cubicBezTo>
                <a:close/>
                <a:moveTo>
                  <a:pt x="612736" y="4495318"/>
                </a:moveTo>
                <a:cubicBezTo>
                  <a:pt x="670542" y="4495318"/>
                  <a:pt x="716785" y="4542205"/>
                  <a:pt x="716785" y="4599368"/>
                </a:cubicBezTo>
                <a:lnTo>
                  <a:pt x="716721" y="4599689"/>
                </a:lnTo>
                <a:lnTo>
                  <a:pt x="716785" y="4600011"/>
                </a:lnTo>
                <a:cubicBezTo>
                  <a:pt x="716785" y="4657174"/>
                  <a:pt x="670542" y="4704060"/>
                  <a:pt x="612736" y="4704060"/>
                </a:cubicBezTo>
                <a:cubicBezTo>
                  <a:pt x="554931" y="4704060"/>
                  <a:pt x="508045" y="4657174"/>
                  <a:pt x="508686" y="4600011"/>
                </a:cubicBezTo>
                <a:lnTo>
                  <a:pt x="508751" y="4599689"/>
                </a:lnTo>
                <a:lnTo>
                  <a:pt x="508686" y="4599368"/>
                </a:lnTo>
                <a:cubicBezTo>
                  <a:pt x="508045" y="4542205"/>
                  <a:pt x="554931" y="4495318"/>
                  <a:pt x="612736" y="4495318"/>
                </a:cubicBezTo>
                <a:close/>
                <a:moveTo>
                  <a:pt x="1169593" y="4413107"/>
                </a:moveTo>
                <a:cubicBezTo>
                  <a:pt x="1272359" y="4413107"/>
                  <a:pt x="1355855" y="4496604"/>
                  <a:pt x="1355855" y="4599368"/>
                </a:cubicBezTo>
                <a:lnTo>
                  <a:pt x="1355790" y="4599689"/>
                </a:lnTo>
                <a:lnTo>
                  <a:pt x="1355855" y="4600009"/>
                </a:lnTo>
                <a:cubicBezTo>
                  <a:pt x="1355855" y="4702775"/>
                  <a:pt x="1272359" y="4786271"/>
                  <a:pt x="1169593" y="4786271"/>
                </a:cubicBezTo>
                <a:cubicBezTo>
                  <a:pt x="1066829" y="4786271"/>
                  <a:pt x="983332" y="4702775"/>
                  <a:pt x="983332" y="4600009"/>
                </a:cubicBezTo>
                <a:lnTo>
                  <a:pt x="983398" y="4599689"/>
                </a:lnTo>
                <a:lnTo>
                  <a:pt x="983332" y="4599368"/>
                </a:lnTo>
                <a:cubicBezTo>
                  <a:pt x="983332" y="4496604"/>
                  <a:pt x="1066829" y="4413107"/>
                  <a:pt x="1169593" y="4413107"/>
                </a:cubicBezTo>
                <a:close/>
                <a:moveTo>
                  <a:pt x="55236" y="4004616"/>
                </a:moveTo>
                <a:cubicBezTo>
                  <a:pt x="76431" y="4004616"/>
                  <a:pt x="93132" y="4021957"/>
                  <a:pt x="93132" y="4042511"/>
                </a:cubicBezTo>
                <a:lnTo>
                  <a:pt x="92996" y="4042831"/>
                </a:lnTo>
                <a:lnTo>
                  <a:pt x="93132" y="4043152"/>
                </a:lnTo>
                <a:cubicBezTo>
                  <a:pt x="93132" y="4063705"/>
                  <a:pt x="76431" y="4081047"/>
                  <a:pt x="55236" y="4081047"/>
                </a:cubicBezTo>
                <a:cubicBezTo>
                  <a:pt x="34684" y="4081047"/>
                  <a:pt x="17342" y="4064347"/>
                  <a:pt x="17342" y="4043152"/>
                </a:cubicBezTo>
                <a:lnTo>
                  <a:pt x="17479" y="4042833"/>
                </a:lnTo>
                <a:lnTo>
                  <a:pt x="17342" y="4042511"/>
                </a:lnTo>
                <a:cubicBezTo>
                  <a:pt x="17342" y="4021315"/>
                  <a:pt x="34684" y="4004616"/>
                  <a:pt x="55236" y="4004616"/>
                </a:cubicBezTo>
                <a:close/>
                <a:moveTo>
                  <a:pt x="612736" y="3957728"/>
                </a:moveTo>
                <a:cubicBezTo>
                  <a:pt x="659622" y="3957728"/>
                  <a:pt x="697517" y="3995623"/>
                  <a:pt x="697517" y="4042509"/>
                </a:cubicBezTo>
                <a:lnTo>
                  <a:pt x="697452" y="4042830"/>
                </a:lnTo>
                <a:lnTo>
                  <a:pt x="697517" y="4043152"/>
                </a:lnTo>
                <a:cubicBezTo>
                  <a:pt x="697517" y="4090038"/>
                  <a:pt x="659622" y="4127933"/>
                  <a:pt x="612736" y="4127933"/>
                </a:cubicBezTo>
                <a:cubicBezTo>
                  <a:pt x="565207" y="4127933"/>
                  <a:pt x="527312" y="4089396"/>
                  <a:pt x="527955" y="4043152"/>
                </a:cubicBezTo>
                <a:lnTo>
                  <a:pt x="528019" y="4042830"/>
                </a:lnTo>
                <a:lnTo>
                  <a:pt x="527955" y="4042509"/>
                </a:lnTo>
                <a:cubicBezTo>
                  <a:pt x="527312" y="3995623"/>
                  <a:pt x="565207" y="3957728"/>
                  <a:pt x="612736" y="3957728"/>
                </a:cubicBezTo>
                <a:close/>
                <a:moveTo>
                  <a:pt x="1169594" y="3880655"/>
                </a:moveTo>
                <a:cubicBezTo>
                  <a:pt x="1258871" y="3880655"/>
                  <a:pt x="1331449" y="3953234"/>
                  <a:pt x="1331449" y="4042511"/>
                </a:cubicBezTo>
                <a:lnTo>
                  <a:pt x="1331384" y="4042831"/>
                </a:lnTo>
                <a:lnTo>
                  <a:pt x="1331449" y="4043153"/>
                </a:lnTo>
                <a:cubicBezTo>
                  <a:pt x="1331449" y="4132430"/>
                  <a:pt x="1258871" y="4205007"/>
                  <a:pt x="1169594" y="4205007"/>
                </a:cubicBezTo>
                <a:cubicBezTo>
                  <a:pt x="1080316" y="4205007"/>
                  <a:pt x="1007739" y="4132430"/>
                  <a:pt x="1007739" y="4043153"/>
                </a:cubicBezTo>
                <a:lnTo>
                  <a:pt x="1007805" y="4042831"/>
                </a:lnTo>
                <a:lnTo>
                  <a:pt x="1007739" y="4042511"/>
                </a:lnTo>
                <a:cubicBezTo>
                  <a:pt x="1007739" y="3953234"/>
                  <a:pt x="1080316" y="3880655"/>
                  <a:pt x="1169594" y="3880655"/>
                </a:cubicBezTo>
                <a:close/>
                <a:moveTo>
                  <a:pt x="612736" y="3420142"/>
                </a:moveTo>
                <a:cubicBezTo>
                  <a:pt x="649346" y="3420142"/>
                  <a:pt x="678891" y="3449686"/>
                  <a:pt x="678891" y="3486296"/>
                </a:cubicBezTo>
                <a:lnTo>
                  <a:pt x="678891" y="3486300"/>
                </a:lnTo>
                <a:lnTo>
                  <a:pt x="678891" y="3486302"/>
                </a:lnTo>
                <a:cubicBezTo>
                  <a:pt x="678891" y="3522911"/>
                  <a:pt x="649346" y="3551814"/>
                  <a:pt x="612736" y="3551814"/>
                </a:cubicBezTo>
                <a:cubicBezTo>
                  <a:pt x="576125" y="3551814"/>
                  <a:pt x="546581" y="3522270"/>
                  <a:pt x="546581" y="3486302"/>
                </a:cubicBezTo>
                <a:lnTo>
                  <a:pt x="546582" y="3486300"/>
                </a:lnTo>
                <a:lnTo>
                  <a:pt x="546581" y="3486296"/>
                </a:lnTo>
                <a:lnTo>
                  <a:pt x="546680" y="3485811"/>
                </a:lnTo>
                <a:lnTo>
                  <a:pt x="551769" y="3460250"/>
                </a:lnTo>
                <a:cubicBezTo>
                  <a:pt x="558453" y="3444353"/>
                  <a:pt x="571118" y="3431827"/>
                  <a:pt x="586954" y="3425244"/>
                </a:cubicBezTo>
                <a:lnTo>
                  <a:pt x="611347" y="3420421"/>
                </a:lnTo>
                <a:close/>
                <a:moveTo>
                  <a:pt x="1169593" y="3357198"/>
                </a:moveTo>
                <a:cubicBezTo>
                  <a:pt x="1187256" y="3357198"/>
                  <a:pt x="1204116" y="3360770"/>
                  <a:pt x="1219471" y="3367244"/>
                </a:cubicBezTo>
                <a:lnTo>
                  <a:pt x="1219560" y="3367304"/>
                </a:lnTo>
                <a:lnTo>
                  <a:pt x="1219741" y="3367341"/>
                </a:lnTo>
                <a:lnTo>
                  <a:pt x="1240198" y="3381172"/>
                </a:lnTo>
                <a:lnTo>
                  <a:pt x="1260316" y="3394691"/>
                </a:lnTo>
                <a:lnTo>
                  <a:pt x="1260421" y="3394846"/>
                </a:lnTo>
                <a:lnTo>
                  <a:pt x="1260556" y="3394939"/>
                </a:lnTo>
                <a:lnTo>
                  <a:pt x="1272451" y="3412638"/>
                </a:lnTo>
                <a:lnTo>
                  <a:pt x="1287914" y="3435505"/>
                </a:lnTo>
                <a:lnTo>
                  <a:pt x="1287956" y="3435710"/>
                </a:lnTo>
                <a:lnTo>
                  <a:pt x="1288005" y="3435783"/>
                </a:lnTo>
                <a:lnTo>
                  <a:pt x="1297800" y="3484414"/>
                </a:lnTo>
                <a:lnTo>
                  <a:pt x="1298050" y="3485654"/>
                </a:lnTo>
                <a:lnTo>
                  <a:pt x="1298050" y="3485657"/>
                </a:lnTo>
                <a:lnTo>
                  <a:pt x="1298050" y="3485659"/>
                </a:lnTo>
                <a:lnTo>
                  <a:pt x="1297801" y="3486892"/>
                </a:lnTo>
                <a:lnTo>
                  <a:pt x="1288005" y="3535531"/>
                </a:lnTo>
                <a:lnTo>
                  <a:pt x="1287955" y="3535604"/>
                </a:lnTo>
                <a:lnTo>
                  <a:pt x="1287914" y="3535806"/>
                </a:lnTo>
                <a:lnTo>
                  <a:pt x="1272620" y="3558425"/>
                </a:lnTo>
                <a:lnTo>
                  <a:pt x="1260556" y="3576375"/>
                </a:lnTo>
                <a:lnTo>
                  <a:pt x="1260419" y="3576469"/>
                </a:lnTo>
                <a:lnTo>
                  <a:pt x="1260316" y="3576620"/>
                </a:lnTo>
                <a:lnTo>
                  <a:pt x="1240760" y="3589763"/>
                </a:lnTo>
                <a:lnTo>
                  <a:pt x="1219741" y="3603973"/>
                </a:lnTo>
                <a:lnTo>
                  <a:pt x="1219554" y="3604012"/>
                </a:lnTo>
                <a:lnTo>
                  <a:pt x="1219471" y="3604067"/>
                </a:lnTo>
                <a:cubicBezTo>
                  <a:pt x="1204116" y="3610541"/>
                  <a:pt x="1187256" y="3614112"/>
                  <a:pt x="1169593" y="3614112"/>
                </a:cubicBezTo>
                <a:lnTo>
                  <a:pt x="1168035" y="3613798"/>
                </a:lnTo>
                <a:lnTo>
                  <a:pt x="1119355" y="3604063"/>
                </a:lnTo>
                <a:cubicBezTo>
                  <a:pt x="1088485" y="3591119"/>
                  <a:pt x="1063797" y="3566571"/>
                  <a:pt x="1050912" y="3535803"/>
                </a:cubicBezTo>
                <a:lnTo>
                  <a:pt x="1041163" y="3485790"/>
                </a:lnTo>
                <a:lnTo>
                  <a:pt x="1041137" y="3485659"/>
                </a:lnTo>
                <a:lnTo>
                  <a:pt x="1041138" y="3485657"/>
                </a:lnTo>
                <a:lnTo>
                  <a:pt x="1041137" y="3485654"/>
                </a:lnTo>
                <a:lnTo>
                  <a:pt x="1041163" y="3485523"/>
                </a:lnTo>
                <a:lnTo>
                  <a:pt x="1050912" y="3435511"/>
                </a:lnTo>
                <a:cubicBezTo>
                  <a:pt x="1063797" y="3404743"/>
                  <a:pt x="1088485" y="3380195"/>
                  <a:pt x="1119355" y="3367250"/>
                </a:cubicBezTo>
                <a:lnTo>
                  <a:pt x="1166602" y="3357803"/>
                </a:lnTo>
                <a:close/>
                <a:moveTo>
                  <a:pt x="1726451" y="3271775"/>
                </a:moveTo>
                <a:cubicBezTo>
                  <a:pt x="1844632" y="3271775"/>
                  <a:pt x="1940331" y="3367477"/>
                  <a:pt x="1940331" y="3485654"/>
                </a:cubicBezTo>
                <a:lnTo>
                  <a:pt x="1940331" y="3485657"/>
                </a:lnTo>
                <a:lnTo>
                  <a:pt x="1940331" y="3485659"/>
                </a:lnTo>
                <a:cubicBezTo>
                  <a:pt x="1940331" y="3603840"/>
                  <a:pt x="1844632" y="3699535"/>
                  <a:pt x="1726451" y="3699535"/>
                </a:cubicBezTo>
                <a:cubicBezTo>
                  <a:pt x="1608271" y="3699535"/>
                  <a:pt x="1512572" y="3603840"/>
                  <a:pt x="1512572" y="3485659"/>
                </a:cubicBezTo>
                <a:lnTo>
                  <a:pt x="1512573" y="3485657"/>
                </a:lnTo>
                <a:lnTo>
                  <a:pt x="1512572" y="3485654"/>
                </a:lnTo>
                <a:cubicBezTo>
                  <a:pt x="1512572" y="3367477"/>
                  <a:pt x="1608271" y="3271775"/>
                  <a:pt x="1726451" y="3271775"/>
                </a:cubicBezTo>
                <a:close/>
                <a:moveTo>
                  <a:pt x="612736" y="2881269"/>
                </a:moveTo>
                <a:cubicBezTo>
                  <a:pt x="638427" y="2881269"/>
                  <a:pt x="659622" y="2902465"/>
                  <a:pt x="659622" y="2928156"/>
                </a:cubicBezTo>
                <a:lnTo>
                  <a:pt x="659487" y="2928480"/>
                </a:lnTo>
                <a:lnTo>
                  <a:pt x="659622" y="2928804"/>
                </a:lnTo>
                <a:cubicBezTo>
                  <a:pt x="659622" y="2954495"/>
                  <a:pt x="638427" y="2975691"/>
                  <a:pt x="612736" y="2975691"/>
                </a:cubicBezTo>
                <a:cubicBezTo>
                  <a:pt x="599891" y="2975691"/>
                  <a:pt x="588169" y="2970392"/>
                  <a:pt x="579659" y="2961882"/>
                </a:cubicBezTo>
                <a:lnTo>
                  <a:pt x="579503" y="2961508"/>
                </a:lnTo>
                <a:lnTo>
                  <a:pt x="579417" y="2961474"/>
                </a:lnTo>
                <a:lnTo>
                  <a:pt x="576618" y="2954598"/>
                </a:lnTo>
                <a:lnTo>
                  <a:pt x="565849" y="2928804"/>
                </a:lnTo>
                <a:lnTo>
                  <a:pt x="565982" y="2928480"/>
                </a:lnTo>
                <a:lnTo>
                  <a:pt x="565849" y="2928156"/>
                </a:lnTo>
                <a:cubicBezTo>
                  <a:pt x="565849" y="2902465"/>
                  <a:pt x="587045" y="2881269"/>
                  <a:pt x="612736" y="2881269"/>
                </a:cubicBezTo>
                <a:close/>
                <a:moveTo>
                  <a:pt x="1169593" y="2834388"/>
                </a:moveTo>
                <a:cubicBezTo>
                  <a:pt x="1221618" y="2834388"/>
                  <a:pt x="1263367" y="2876781"/>
                  <a:pt x="1263367" y="2928162"/>
                </a:cubicBezTo>
                <a:lnTo>
                  <a:pt x="1263302" y="2928480"/>
                </a:lnTo>
                <a:lnTo>
                  <a:pt x="1263367" y="2928800"/>
                </a:lnTo>
                <a:cubicBezTo>
                  <a:pt x="1263367" y="2980182"/>
                  <a:pt x="1221618" y="3022571"/>
                  <a:pt x="1169593" y="3022571"/>
                </a:cubicBezTo>
                <a:cubicBezTo>
                  <a:pt x="1117568" y="3022571"/>
                  <a:pt x="1075178" y="2980823"/>
                  <a:pt x="1075821" y="2928800"/>
                </a:cubicBezTo>
                <a:lnTo>
                  <a:pt x="1075886" y="2928480"/>
                </a:lnTo>
                <a:lnTo>
                  <a:pt x="1075821" y="2928162"/>
                </a:lnTo>
                <a:cubicBezTo>
                  <a:pt x="1075178" y="2876781"/>
                  <a:pt x="1117568" y="2834388"/>
                  <a:pt x="1169593" y="2834388"/>
                </a:cubicBezTo>
                <a:close/>
                <a:moveTo>
                  <a:pt x="1726451" y="2766301"/>
                </a:moveTo>
                <a:cubicBezTo>
                  <a:pt x="1816370" y="2766301"/>
                  <a:pt x="1888947" y="2838877"/>
                  <a:pt x="1888947" y="2928798"/>
                </a:cubicBezTo>
                <a:lnTo>
                  <a:pt x="1888947" y="2928802"/>
                </a:lnTo>
                <a:lnTo>
                  <a:pt x="1888947" y="2928807"/>
                </a:lnTo>
                <a:cubicBezTo>
                  <a:pt x="1888947" y="3018725"/>
                  <a:pt x="1816370" y="3091304"/>
                  <a:pt x="1726451" y="3091304"/>
                </a:cubicBezTo>
                <a:cubicBezTo>
                  <a:pt x="1636531" y="3091304"/>
                  <a:pt x="1563954" y="3018725"/>
                  <a:pt x="1563954" y="2928807"/>
                </a:cubicBezTo>
                <a:lnTo>
                  <a:pt x="1563955" y="2928802"/>
                </a:lnTo>
                <a:lnTo>
                  <a:pt x="1563954" y="2928798"/>
                </a:lnTo>
                <a:cubicBezTo>
                  <a:pt x="1563954" y="2838877"/>
                  <a:pt x="1636531" y="2766301"/>
                  <a:pt x="1726451" y="2766301"/>
                </a:cubicBezTo>
                <a:close/>
                <a:moveTo>
                  <a:pt x="1169593" y="2310279"/>
                </a:moveTo>
                <a:cubicBezTo>
                  <a:pt x="1203635" y="2310279"/>
                  <a:pt x="1230610" y="2337899"/>
                  <a:pt x="1230610" y="2371297"/>
                </a:cubicBezTo>
                <a:lnTo>
                  <a:pt x="1230476" y="2371620"/>
                </a:lnTo>
                <a:lnTo>
                  <a:pt x="1230610" y="2371944"/>
                </a:lnTo>
                <a:cubicBezTo>
                  <a:pt x="1230610" y="2405343"/>
                  <a:pt x="1203635" y="2432962"/>
                  <a:pt x="1169593" y="2432962"/>
                </a:cubicBezTo>
                <a:cubicBezTo>
                  <a:pt x="1136194" y="2432962"/>
                  <a:pt x="1108577" y="2405983"/>
                  <a:pt x="1108577" y="2371944"/>
                </a:cubicBezTo>
                <a:lnTo>
                  <a:pt x="1108712" y="2371620"/>
                </a:lnTo>
                <a:lnTo>
                  <a:pt x="1108577" y="2371297"/>
                </a:lnTo>
                <a:cubicBezTo>
                  <a:pt x="1108577" y="2337256"/>
                  <a:pt x="1136194" y="2310279"/>
                  <a:pt x="1169593" y="2310279"/>
                </a:cubicBezTo>
                <a:close/>
                <a:moveTo>
                  <a:pt x="1726451" y="2253761"/>
                </a:moveTo>
                <a:cubicBezTo>
                  <a:pt x="1791322" y="2253761"/>
                  <a:pt x="1843989" y="2306430"/>
                  <a:pt x="1843989" y="2371298"/>
                </a:cubicBezTo>
                <a:lnTo>
                  <a:pt x="1843924" y="2371620"/>
                </a:lnTo>
                <a:lnTo>
                  <a:pt x="1843989" y="2371944"/>
                </a:lnTo>
                <a:cubicBezTo>
                  <a:pt x="1843989" y="2436813"/>
                  <a:pt x="1791322" y="2489484"/>
                  <a:pt x="1726451" y="2489484"/>
                </a:cubicBezTo>
                <a:cubicBezTo>
                  <a:pt x="1661581" y="2489484"/>
                  <a:pt x="1608913" y="2436813"/>
                  <a:pt x="1608913" y="2371944"/>
                </a:cubicBezTo>
                <a:lnTo>
                  <a:pt x="1608979" y="2371620"/>
                </a:lnTo>
                <a:lnTo>
                  <a:pt x="1608913" y="2371298"/>
                </a:lnTo>
                <a:cubicBezTo>
                  <a:pt x="1608913" y="2306430"/>
                  <a:pt x="1661581" y="2253761"/>
                  <a:pt x="1726451" y="2253761"/>
                </a:cubicBezTo>
                <a:close/>
                <a:moveTo>
                  <a:pt x="2283309" y="2185682"/>
                </a:moveTo>
                <a:cubicBezTo>
                  <a:pt x="2386075" y="2185682"/>
                  <a:pt x="2468929" y="2268534"/>
                  <a:pt x="2468929" y="2371298"/>
                </a:cubicBezTo>
                <a:lnTo>
                  <a:pt x="2468866" y="2371620"/>
                </a:lnTo>
                <a:lnTo>
                  <a:pt x="2468929" y="2371946"/>
                </a:lnTo>
                <a:cubicBezTo>
                  <a:pt x="2468929" y="2474711"/>
                  <a:pt x="2386075" y="2557571"/>
                  <a:pt x="2283309" y="2557571"/>
                </a:cubicBezTo>
                <a:cubicBezTo>
                  <a:pt x="2180545" y="2557571"/>
                  <a:pt x="2097690" y="2474711"/>
                  <a:pt x="2097690" y="2371946"/>
                </a:cubicBezTo>
                <a:lnTo>
                  <a:pt x="2097756" y="2371620"/>
                </a:lnTo>
                <a:lnTo>
                  <a:pt x="2097690" y="2371298"/>
                </a:lnTo>
                <a:cubicBezTo>
                  <a:pt x="2097690" y="2268534"/>
                  <a:pt x="2180545" y="2185682"/>
                  <a:pt x="2283309" y="2185682"/>
                </a:cubicBezTo>
                <a:close/>
                <a:moveTo>
                  <a:pt x="1169594" y="1778474"/>
                </a:moveTo>
                <a:cubicBezTo>
                  <a:pt x="1189504" y="1778474"/>
                  <a:pt x="1205562" y="1794531"/>
                  <a:pt x="1205562" y="1814442"/>
                </a:cubicBezTo>
                <a:lnTo>
                  <a:pt x="1205428" y="1814767"/>
                </a:lnTo>
                <a:lnTo>
                  <a:pt x="1205562" y="1815092"/>
                </a:lnTo>
                <a:cubicBezTo>
                  <a:pt x="1205562" y="1835003"/>
                  <a:pt x="1189504" y="1851060"/>
                  <a:pt x="1169594" y="1851060"/>
                </a:cubicBezTo>
                <a:cubicBezTo>
                  <a:pt x="1149683" y="1851060"/>
                  <a:pt x="1133626" y="1835003"/>
                  <a:pt x="1133626" y="1815092"/>
                </a:cubicBezTo>
                <a:lnTo>
                  <a:pt x="1133762" y="1814767"/>
                </a:lnTo>
                <a:lnTo>
                  <a:pt x="1133626" y="1814442"/>
                </a:lnTo>
                <a:cubicBezTo>
                  <a:pt x="1133626" y="1794531"/>
                  <a:pt x="1149683" y="1778474"/>
                  <a:pt x="1169594" y="1778474"/>
                </a:cubicBezTo>
                <a:close/>
                <a:moveTo>
                  <a:pt x="1726452" y="1741232"/>
                </a:moveTo>
                <a:cubicBezTo>
                  <a:pt x="1766916" y="1741232"/>
                  <a:pt x="1799672" y="1773988"/>
                  <a:pt x="1799672" y="1814452"/>
                </a:cubicBezTo>
                <a:lnTo>
                  <a:pt x="1799608" y="1814767"/>
                </a:lnTo>
                <a:lnTo>
                  <a:pt x="1799672" y="1815083"/>
                </a:lnTo>
                <a:cubicBezTo>
                  <a:pt x="1799672" y="1855547"/>
                  <a:pt x="1766916" y="1888303"/>
                  <a:pt x="1726452" y="1888303"/>
                </a:cubicBezTo>
                <a:cubicBezTo>
                  <a:pt x="1685988" y="1888303"/>
                  <a:pt x="1653232" y="1854904"/>
                  <a:pt x="1653232" y="1815083"/>
                </a:cubicBezTo>
                <a:lnTo>
                  <a:pt x="1653296" y="1814767"/>
                </a:lnTo>
                <a:lnTo>
                  <a:pt x="1653232" y="1814452"/>
                </a:lnTo>
                <a:cubicBezTo>
                  <a:pt x="1653232" y="1773988"/>
                  <a:pt x="1685988" y="1741232"/>
                  <a:pt x="1726452" y="1741232"/>
                </a:cubicBezTo>
                <a:close/>
                <a:moveTo>
                  <a:pt x="9907829" y="1731583"/>
                </a:moveTo>
                <a:lnTo>
                  <a:pt x="9907829" y="1898575"/>
                </a:lnTo>
                <a:cubicBezTo>
                  <a:pt x="9895625" y="1872884"/>
                  <a:pt x="9888560" y="1845266"/>
                  <a:pt x="9888560" y="1815080"/>
                </a:cubicBezTo>
                <a:cubicBezTo>
                  <a:pt x="9888560" y="1784891"/>
                  <a:pt x="9895625" y="1756631"/>
                  <a:pt x="9907829" y="1731583"/>
                </a:cubicBezTo>
                <a:close/>
                <a:moveTo>
                  <a:pt x="2283183" y="1688074"/>
                </a:moveTo>
                <a:cubicBezTo>
                  <a:pt x="2315564" y="1688073"/>
                  <a:pt x="2347946" y="1700426"/>
                  <a:pt x="2372650" y="1725132"/>
                </a:cubicBezTo>
                <a:cubicBezTo>
                  <a:pt x="2397358" y="1749839"/>
                  <a:pt x="2409711" y="1782221"/>
                  <a:pt x="2409711" y="1814602"/>
                </a:cubicBezTo>
                <a:lnTo>
                  <a:pt x="2409710" y="1814607"/>
                </a:lnTo>
                <a:lnTo>
                  <a:pt x="2409711" y="1814611"/>
                </a:lnTo>
                <a:cubicBezTo>
                  <a:pt x="2409711" y="1846993"/>
                  <a:pt x="2397358" y="1879375"/>
                  <a:pt x="2372650" y="1904081"/>
                </a:cubicBezTo>
                <a:cubicBezTo>
                  <a:pt x="2323240" y="1953492"/>
                  <a:pt x="2243126" y="1953492"/>
                  <a:pt x="2193714" y="1904081"/>
                </a:cubicBezTo>
                <a:cubicBezTo>
                  <a:pt x="2169009" y="1879375"/>
                  <a:pt x="2156655" y="1846993"/>
                  <a:pt x="2156655" y="1814611"/>
                </a:cubicBezTo>
                <a:lnTo>
                  <a:pt x="2156655" y="1814607"/>
                </a:lnTo>
                <a:lnTo>
                  <a:pt x="2156655" y="1814602"/>
                </a:lnTo>
                <a:cubicBezTo>
                  <a:pt x="2156655" y="1782221"/>
                  <a:pt x="2169009" y="1749839"/>
                  <a:pt x="2193714" y="1725133"/>
                </a:cubicBezTo>
                <a:cubicBezTo>
                  <a:pt x="2218420" y="1700426"/>
                  <a:pt x="2250800" y="1688074"/>
                  <a:pt x="2283183" y="1688074"/>
                </a:cubicBezTo>
                <a:close/>
                <a:moveTo>
                  <a:pt x="2840168" y="1624326"/>
                </a:moveTo>
                <a:lnTo>
                  <a:pt x="2859379" y="1628209"/>
                </a:lnTo>
                <a:lnTo>
                  <a:pt x="2914040" y="1639228"/>
                </a:lnTo>
                <a:lnTo>
                  <a:pt x="2914096" y="1639266"/>
                </a:lnTo>
                <a:lnTo>
                  <a:pt x="2914312" y="1639310"/>
                </a:lnTo>
                <a:lnTo>
                  <a:pt x="2950154" y="1663524"/>
                </a:lnTo>
                <a:lnTo>
                  <a:pt x="2974485" y="1679893"/>
                </a:lnTo>
                <a:lnTo>
                  <a:pt x="2974572" y="1680020"/>
                </a:lnTo>
                <a:lnTo>
                  <a:pt x="2974726" y="1680125"/>
                </a:lnTo>
                <a:lnTo>
                  <a:pt x="2994843" y="1710029"/>
                </a:lnTo>
                <a:lnTo>
                  <a:pt x="3015300" y="1740308"/>
                </a:lnTo>
                <a:lnTo>
                  <a:pt x="3015336" y="1740490"/>
                </a:lnTo>
                <a:lnTo>
                  <a:pt x="3015391" y="1740569"/>
                </a:lnTo>
                <a:cubicBezTo>
                  <a:pt x="3024984" y="1763300"/>
                  <a:pt x="3030282" y="1788269"/>
                  <a:pt x="3030282" y="1814442"/>
                </a:cubicBezTo>
                <a:lnTo>
                  <a:pt x="3030281" y="1814448"/>
                </a:lnTo>
                <a:lnTo>
                  <a:pt x="3030282" y="1814453"/>
                </a:lnTo>
                <a:cubicBezTo>
                  <a:pt x="3030282" y="1840626"/>
                  <a:pt x="3024984" y="1865594"/>
                  <a:pt x="3015391" y="1888324"/>
                </a:cubicBezTo>
                <a:lnTo>
                  <a:pt x="3015336" y="1888403"/>
                </a:lnTo>
                <a:lnTo>
                  <a:pt x="3015300" y="1888585"/>
                </a:lnTo>
                <a:lnTo>
                  <a:pt x="2994895" y="1918790"/>
                </a:lnTo>
                <a:lnTo>
                  <a:pt x="2974726" y="1948769"/>
                </a:lnTo>
                <a:lnTo>
                  <a:pt x="2974572" y="1948874"/>
                </a:lnTo>
                <a:lnTo>
                  <a:pt x="2974485" y="1948999"/>
                </a:lnTo>
                <a:lnTo>
                  <a:pt x="2950250" y="1965305"/>
                </a:lnTo>
                <a:lnTo>
                  <a:pt x="2914312" y="1989583"/>
                </a:lnTo>
                <a:lnTo>
                  <a:pt x="2914096" y="1989627"/>
                </a:lnTo>
                <a:lnTo>
                  <a:pt x="2914040" y="1989664"/>
                </a:lnTo>
                <a:lnTo>
                  <a:pt x="2859639" y="2000631"/>
                </a:lnTo>
                <a:lnTo>
                  <a:pt x="2840168" y="2004566"/>
                </a:lnTo>
                <a:cubicBezTo>
                  <a:pt x="2735475" y="2004566"/>
                  <a:pt x="2650053" y="1919786"/>
                  <a:pt x="2650053" y="1814453"/>
                </a:cubicBezTo>
                <a:lnTo>
                  <a:pt x="2650055" y="1814448"/>
                </a:lnTo>
                <a:lnTo>
                  <a:pt x="2650053" y="1814442"/>
                </a:lnTo>
                <a:cubicBezTo>
                  <a:pt x="2650053" y="1709107"/>
                  <a:pt x="2735475" y="1624326"/>
                  <a:pt x="2840168" y="1624326"/>
                </a:cubicBezTo>
                <a:close/>
                <a:moveTo>
                  <a:pt x="1726452" y="1217762"/>
                </a:moveTo>
                <a:cubicBezTo>
                  <a:pt x="1748290" y="1217762"/>
                  <a:pt x="1766273" y="1235745"/>
                  <a:pt x="1766273" y="1257583"/>
                </a:cubicBezTo>
                <a:lnTo>
                  <a:pt x="1766272" y="1257587"/>
                </a:lnTo>
                <a:lnTo>
                  <a:pt x="1766273" y="1257592"/>
                </a:lnTo>
                <a:cubicBezTo>
                  <a:pt x="1766273" y="1279428"/>
                  <a:pt x="1748290" y="1297412"/>
                  <a:pt x="1726452" y="1297412"/>
                </a:cubicBezTo>
                <a:cubicBezTo>
                  <a:pt x="1704614" y="1297412"/>
                  <a:pt x="1686631" y="1279428"/>
                  <a:pt x="1686631" y="1257592"/>
                </a:cubicBezTo>
                <a:lnTo>
                  <a:pt x="1686633" y="1257587"/>
                </a:lnTo>
                <a:lnTo>
                  <a:pt x="1686631" y="1257583"/>
                </a:lnTo>
                <a:cubicBezTo>
                  <a:pt x="1686631" y="1235745"/>
                  <a:pt x="1704614" y="1217762"/>
                  <a:pt x="1726452" y="1217762"/>
                </a:cubicBezTo>
                <a:close/>
                <a:moveTo>
                  <a:pt x="2283309" y="1183722"/>
                </a:moveTo>
                <a:lnTo>
                  <a:pt x="2289931" y="1185063"/>
                </a:lnTo>
                <a:lnTo>
                  <a:pt x="2311921" y="1189491"/>
                </a:lnTo>
                <a:lnTo>
                  <a:pt x="2311979" y="1189530"/>
                </a:lnTo>
                <a:lnTo>
                  <a:pt x="2312191" y="1189572"/>
                </a:lnTo>
                <a:lnTo>
                  <a:pt x="2325865" y="1198842"/>
                </a:lnTo>
                <a:lnTo>
                  <a:pt x="2335415" y="1205247"/>
                </a:lnTo>
                <a:lnTo>
                  <a:pt x="2335503" y="1205376"/>
                </a:lnTo>
                <a:lnTo>
                  <a:pt x="2335655" y="1205479"/>
                </a:lnTo>
                <a:lnTo>
                  <a:pt x="2343315" y="1216902"/>
                </a:lnTo>
                <a:lnTo>
                  <a:pt x="2351320" y="1228711"/>
                </a:lnTo>
                <a:lnTo>
                  <a:pt x="2351358" y="1228894"/>
                </a:lnTo>
                <a:lnTo>
                  <a:pt x="2351411" y="1228973"/>
                </a:lnTo>
                <a:cubicBezTo>
                  <a:pt x="2355124" y="1237794"/>
                  <a:pt x="2357170" y="1247468"/>
                  <a:pt x="2357170" y="1257585"/>
                </a:cubicBezTo>
                <a:lnTo>
                  <a:pt x="2357170" y="1257589"/>
                </a:lnTo>
                <a:lnTo>
                  <a:pt x="2357170" y="1257593"/>
                </a:lnTo>
                <a:cubicBezTo>
                  <a:pt x="2357170" y="1267709"/>
                  <a:pt x="2355124" y="1277383"/>
                  <a:pt x="2351411" y="1286203"/>
                </a:cubicBezTo>
                <a:lnTo>
                  <a:pt x="2351358" y="1286284"/>
                </a:lnTo>
                <a:lnTo>
                  <a:pt x="2351320" y="1286467"/>
                </a:lnTo>
                <a:lnTo>
                  <a:pt x="2343311" y="1298281"/>
                </a:lnTo>
                <a:lnTo>
                  <a:pt x="2335655" y="1309697"/>
                </a:lnTo>
                <a:lnTo>
                  <a:pt x="2335503" y="1309802"/>
                </a:lnTo>
                <a:lnTo>
                  <a:pt x="2335415" y="1309930"/>
                </a:lnTo>
                <a:lnTo>
                  <a:pt x="2325840" y="1316351"/>
                </a:lnTo>
                <a:lnTo>
                  <a:pt x="2312191" y="1325604"/>
                </a:lnTo>
                <a:lnTo>
                  <a:pt x="2311981" y="1325647"/>
                </a:lnTo>
                <a:lnTo>
                  <a:pt x="2311921" y="1325687"/>
                </a:lnTo>
                <a:lnTo>
                  <a:pt x="2289573" y="1330186"/>
                </a:lnTo>
                <a:lnTo>
                  <a:pt x="2283309" y="1331454"/>
                </a:lnTo>
                <a:cubicBezTo>
                  <a:pt x="2242846" y="1331454"/>
                  <a:pt x="2209446" y="1298698"/>
                  <a:pt x="2209446" y="1257593"/>
                </a:cubicBezTo>
                <a:lnTo>
                  <a:pt x="2209449" y="1257589"/>
                </a:lnTo>
                <a:lnTo>
                  <a:pt x="2209446" y="1257585"/>
                </a:lnTo>
                <a:cubicBezTo>
                  <a:pt x="2209446" y="1216478"/>
                  <a:pt x="2242846" y="1183722"/>
                  <a:pt x="2283309" y="1183722"/>
                </a:cubicBezTo>
                <a:close/>
                <a:moveTo>
                  <a:pt x="2840166" y="1135550"/>
                </a:moveTo>
                <a:cubicBezTo>
                  <a:pt x="2907607" y="1135550"/>
                  <a:pt x="2962201" y="1190144"/>
                  <a:pt x="2962201" y="1257583"/>
                </a:cubicBezTo>
                <a:lnTo>
                  <a:pt x="2962201" y="1257588"/>
                </a:lnTo>
                <a:lnTo>
                  <a:pt x="2962201" y="1257592"/>
                </a:lnTo>
                <a:cubicBezTo>
                  <a:pt x="2962201" y="1325031"/>
                  <a:pt x="2907607" y="1379625"/>
                  <a:pt x="2840166" y="1379625"/>
                </a:cubicBezTo>
                <a:cubicBezTo>
                  <a:pt x="2772728" y="1379625"/>
                  <a:pt x="2718134" y="1325031"/>
                  <a:pt x="2718134" y="1257592"/>
                </a:cubicBezTo>
                <a:lnTo>
                  <a:pt x="2718135" y="1257588"/>
                </a:lnTo>
                <a:lnTo>
                  <a:pt x="2718134" y="1257583"/>
                </a:lnTo>
                <a:cubicBezTo>
                  <a:pt x="2718134" y="1190144"/>
                  <a:pt x="2772728" y="1135550"/>
                  <a:pt x="2840166" y="1135550"/>
                </a:cubicBezTo>
                <a:close/>
                <a:moveTo>
                  <a:pt x="9524387" y="1083526"/>
                </a:moveTo>
                <a:cubicBezTo>
                  <a:pt x="9620729" y="1083526"/>
                  <a:pt x="9698445" y="1161885"/>
                  <a:pt x="9698445" y="1257586"/>
                </a:cubicBezTo>
                <a:lnTo>
                  <a:pt x="9698379" y="1257912"/>
                </a:lnTo>
                <a:lnTo>
                  <a:pt x="9698445" y="1258239"/>
                </a:lnTo>
                <a:cubicBezTo>
                  <a:pt x="9698445" y="1353939"/>
                  <a:pt x="9620729" y="1432296"/>
                  <a:pt x="9524387" y="1432296"/>
                </a:cubicBezTo>
                <a:cubicBezTo>
                  <a:pt x="9428045" y="1432296"/>
                  <a:pt x="9350329" y="1354579"/>
                  <a:pt x="9350329" y="1258239"/>
                </a:cubicBezTo>
                <a:lnTo>
                  <a:pt x="9350396" y="1257911"/>
                </a:lnTo>
                <a:lnTo>
                  <a:pt x="9350329" y="1257586"/>
                </a:lnTo>
                <a:cubicBezTo>
                  <a:pt x="9350329" y="1161243"/>
                  <a:pt x="9428045" y="1083526"/>
                  <a:pt x="9524387" y="1083526"/>
                </a:cubicBezTo>
                <a:close/>
                <a:moveTo>
                  <a:pt x="3397667" y="1083526"/>
                </a:moveTo>
                <a:cubicBezTo>
                  <a:pt x="3494010" y="1083526"/>
                  <a:pt x="3571726" y="1161884"/>
                  <a:pt x="3571726" y="1257583"/>
                </a:cubicBezTo>
                <a:lnTo>
                  <a:pt x="3571660" y="1257910"/>
                </a:lnTo>
                <a:lnTo>
                  <a:pt x="3571726" y="1258237"/>
                </a:lnTo>
                <a:cubicBezTo>
                  <a:pt x="3571726" y="1353936"/>
                  <a:pt x="3494010" y="1432293"/>
                  <a:pt x="3397667" y="1432293"/>
                </a:cubicBezTo>
                <a:cubicBezTo>
                  <a:pt x="3301968" y="1432293"/>
                  <a:pt x="3223609" y="1354576"/>
                  <a:pt x="3223609" y="1258237"/>
                </a:cubicBezTo>
                <a:lnTo>
                  <a:pt x="3223676" y="1257910"/>
                </a:lnTo>
                <a:lnTo>
                  <a:pt x="3223609" y="1257583"/>
                </a:lnTo>
                <a:cubicBezTo>
                  <a:pt x="3223609" y="1161241"/>
                  <a:pt x="3301968" y="1083526"/>
                  <a:pt x="3397667" y="1083526"/>
                </a:cubicBezTo>
                <a:close/>
                <a:moveTo>
                  <a:pt x="3985091" y="1035050"/>
                </a:moveTo>
                <a:lnTo>
                  <a:pt x="3999885" y="1038730"/>
                </a:lnTo>
                <a:lnTo>
                  <a:pt x="4006300" y="1038985"/>
                </a:lnTo>
                <a:lnTo>
                  <a:pt x="4012914" y="1041971"/>
                </a:lnTo>
                <a:lnTo>
                  <a:pt x="4032126" y="1046750"/>
                </a:lnTo>
                <a:cubicBezTo>
                  <a:pt x="4047339" y="1052324"/>
                  <a:pt x="4061989" y="1059550"/>
                  <a:pt x="4075781" y="1068355"/>
                </a:cubicBezTo>
                <a:lnTo>
                  <a:pt x="4081393" y="1072885"/>
                </a:lnTo>
                <a:lnTo>
                  <a:pt x="4084846" y="1074445"/>
                </a:lnTo>
                <a:lnTo>
                  <a:pt x="4089571" y="1079489"/>
                </a:lnTo>
                <a:lnTo>
                  <a:pt x="4114288" y="1099448"/>
                </a:lnTo>
                <a:lnTo>
                  <a:pt x="4145805" y="1139522"/>
                </a:lnTo>
                <a:lnTo>
                  <a:pt x="4145875" y="1139595"/>
                </a:lnTo>
                <a:cubicBezTo>
                  <a:pt x="4162191" y="1166001"/>
                  <a:pt x="4172383" y="1194462"/>
                  <a:pt x="4176845" y="1223321"/>
                </a:cubicBezTo>
                <a:lnTo>
                  <a:pt x="4176845" y="1223333"/>
                </a:lnTo>
                <a:lnTo>
                  <a:pt x="4176845" y="1223336"/>
                </a:lnTo>
                <a:cubicBezTo>
                  <a:pt x="4190230" y="1309913"/>
                  <a:pt x="4152028" y="1400071"/>
                  <a:pt x="4072815" y="1449022"/>
                </a:cubicBezTo>
                <a:cubicBezTo>
                  <a:pt x="3967198" y="1514291"/>
                  <a:pt x="3828668" y="1481581"/>
                  <a:pt x="3763402" y="1375963"/>
                </a:cubicBezTo>
                <a:cubicBezTo>
                  <a:pt x="3747085" y="1349560"/>
                  <a:pt x="3736893" y="1321098"/>
                  <a:pt x="3732430" y="1292239"/>
                </a:cubicBezTo>
                <a:lnTo>
                  <a:pt x="3732432" y="1292226"/>
                </a:lnTo>
                <a:lnTo>
                  <a:pt x="3732430" y="1292225"/>
                </a:lnTo>
                <a:cubicBezTo>
                  <a:pt x="3719046" y="1205646"/>
                  <a:pt x="3757249" y="1115485"/>
                  <a:pt x="3836462" y="1066536"/>
                </a:cubicBezTo>
                <a:cubicBezTo>
                  <a:pt x="3862866" y="1050219"/>
                  <a:pt x="3891327" y="1040027"/>
                  <a:pt x="3920187" y="1035565"/>
                </a:cubicBezTo>
                <a:lnTo>
                  <a:pt x="3920506" y="1035578"/>
                </a:lnTo>
                <a:close/>
                <a:moveTo>
                  <a:pt x="8967529" y="1032788"/>
                </a:moveTo>
                <a:cubicBezTo>
                  <a:pt x="9091682" y="1032788"/>
                  <a:pt x="9192327" y="1133433"/>
                  <a:pt x="9192327" y="1257587"/>
                </a:cubicBezTo>
                <a:lnTo>
                  <a:pt x="9192326" y="1257592"/>
                </a:lnTo>
                <a:lnTo>
                  <a:pt x="9192327" y="1257597"/>
                </a:lnTo>
                <a:cubicBezTo>
                  <a:pt x="9192327" y="1381748"/>
                  <a:pt x="9091682" y="1482394"/>
                  <a:pt x="8967529" y="1482394"/>
                </a:cubicBezTo>
                <a:cubicBezTo>
                  <a:pt x="8843376" y="1482394"/>
                  <a:pt x="8742731" y="1381748"/>
                  <a:pt x="8742731" y="1257597"/>
                </a:cubicBezTo>
                <a:lnTo>
                  <a:pt x="8742732" y="1257592"/>
                </a:lnTo>
                <a:lnTo>
                  <a:pt x="8742731" y="1257587"/>
                </a:lnTo>
                <a:cubicBezTo>
                  <a:pt x="8742731" y="1133433"/>
                  <a:pt x="8843376" y="1032788"/>
                  <a:pt x="8967529" y="1032788"/>
                </a:cubicBezTo>
                <a:close/>
                <a:moveTo>
                  <a:pt x="2283309" y="662831"/>
                </a:moveTo>
                <a:cubicBezTo>
                  <a:pt x="2293586" y="662831"/>
                  <a:pt x="2303059" y="667006"/>
                  <a:pt x="2309964" y="673830"/>
                </a:cubicBezTo>
                <a:lnTo>
                  <a:pt x="2310039" y="674008"/>
                </a:lnTo>
                <a:lnTo>
                  <a:pt x="2310206" y="674077"/>
                </a:lnTo>
                <a:lnTo>
                  <a:pt x="2320996" y="700227"/>
                </a:lnTo>
                <a:lnTo>
                  <a:pt x="2321205" y="700726"/>
                </a:lnTo>
                <a:lnTo>
                  <a:pt x="2321202" y="700728"/>
                </a:lnTo>
                <a:lnTo>
                  <a:pt x="2321205" y="700732"/>
                </a:lnTo>
                <a:lnTo>
                  <a:pt x="2320996" y="701231"/>
                </a:lnTo>
                <a:lnTo>
                  <a:pt x="2310206" y="727380"/>
                </a:lnTo>
                <a:lnTo>
                  <a:pt x="2310039" y="727450"/>
                </a:lnTo>
                <a:lnTo>
                  <a:pt x="2309964" y="727628"/>
                </a:lnTo>
                <a:cubicBezTo>
                  <a:pt x="2303059" y="734451"/>
                  <a:pt x="2293586" y="738627"/>
                  <a:pt x="2283309" y="738627"/>
                </a:cubicBezTo>
                <a:lnTo>
                  <a:pt x="2282587" y="738324"/>
                </a:lnTo>
                <a:lnTo>
                  <a:pt x="2256415" y="727622"/>
                </a:lnTo>
                <a:lnTo>
                  <a:pt x="2245705" y="701435"/>
                </a:lnTo>
                <a:lnTo>
                  <a:pt x="2245414" y="700732"/>
                </a:lnTo>
                <a:lnTo>
                  <a:pt x="2245417" y="700728"/>
                </a:lnTo>
                <a:lnTo>
                  <a:pt x="2245414" y="700726"/>
                </a:lnTo>
                <a:lnTo>
                  <a:pt x="2245705" y="700022"/>
                </a:lnTo>
                <a:lnTo>
                  <a:pt x="2256415" y="673836"/>
                </a:lnTo>
                <a:lnTo>
                  <a:pt x="2282587" y="663133"/>
                </a:lnTo>
                <a:close/>
                <a:moveTo>
                  <a:pt x="2840166" y="635213"/>
                </a:moveTo>
                <a:cubicBezTo>
                  <a:pt x="2876135" y="635213"/>
                  <a:pt x="2905681" y="664758"/>
                  <a:pt x="2905681" y="700726"/>
                </a:cubicBezTo>
                <a:lnTo>
                  <a:pt x="2905681" y="700729"/>
                </a:lnTo>
                <a:lnTo>
                  <a:pt x="2905681" y="700732"/>
                </a:lnTo>
                <a:cubicBezTo>
                  <a:pt x="2905681" y="736700"/>
                  <a:pt x="2876135" y="766245"/>
                  <a:pt x="2840166" y="766245"/>
                </a:cubicBezTo>
                <a:cubicBezTo>
                  <a:pt x="2804200" y="766245"/>
                  <a:pt x="2774655" y="736700"/>
                  <a:pt x="2774655" y="700732"/>
                </a:cubicBezTo>
                <a:lnTo>
                  <a:pt x="2774657" y="700729"/>
                </a:lnTo>
                <a:lnTo>
                  <a:pt x="2774655" y="700726"/>
                </a:lnTo>
                <a:cubicBezTo>
                  <a:pt x="2774655" y="664758"/>
                  <a:pt x="2804200" y="635213"/>
                  <a:pt x="2840166" y="635213"/>
                </a:cubicBezTo>
                <a:close/>
                <a:moveTo>
                  <a:pt x="9524387" y="601816"/>
                </a:moveTo>
                <a:cubicBezTo>
                  <a:pt x="9579014" y="601816"/>
                  <a:pt x="9623299" y="646100"/>
                  <a:pt x="9623299" y="700727"/>
                </a:cubicBezTo>
                <a:lnTo>
                  <a:pt x="9623298" y="700731"/>
                </a:lnTo>
                <a:lnTo>
                  <a:pt x="9623299" y="700734"/>
                </a:lnTo>
                <a:cubicBezTo>
                  <a:pt x="9623299" y="755361"/>
                  <a:pt x="9579015" y="799647"/>
                  <a:pt x="9524387" y="799647"/>
                </a:cubicBezTo>
                <a:cubicBezTo>
                  <a:pt x="9469760" y="799647"/>
                  <a:pt x="9425476" y="755361"/>
                  <a:pt x="9425476" y="700734"/>
                </a:cubicBezTo>
                <a:lnTo>
                  <a:pt x="9425477" y="700731"/>
                </a:lnTo>
                <a:lnTo>
                  <a:pt x="9425476" y="700727"/>
                </a:lnTo>
                <a:cubicBezTo>
                  <a:pt x="9425476" y="646100"/>
                  <a:pt x="9469760" y="601816"/>
                  <a:pt x="9524387" y="601816"/>
                </a:cubicBezTo>
                <a:close/>
                <a:moveTo>
                  <a:pt x="3397667" y="601815"/>
                </a:moveTo>
                <a:cubicBezTo>
                  <a:pt x="3452261" y="601815"/>
                  <a:pt x="3496579" y="646132"/>
                  <a:pt x="3496579" y="700726"/>
                </a:cubicBezTo>
                <a:lnTo>
                  <a:pt x="3496579" y="700729"/>
                </a:lnTo>
                <a:lnTo>
                  <a:pt x="3496579" y="700733"/>
                </a:lnTo>
                <a:cubicBezTo>
                  <a:pt x="3496579" y="755326"/>
                  <a:pt x="3452261" y="799643"/>
                  <a:pt x="3397667" y="799643"/>
                </a:cubicBezTo>
                <a:lnTo>
                  <a:pt x="3383469" y="796774"/>
                </a:lnTo>
                <a:lnTo>
                  <a:pt x="3359090" y="791860"/>
                </a:lnTo>
                <a:cubicBezTo>
                  <a:pt x="3335326" y="781844"/>
                  <a:pt x="3316220" y="762876"/>
                  <a:pt x="3306263" y="739212"/>
                </a:cubicBezTo>
                <a:lnTo>
                  <a:pt x="3298794" y="700922"/>
                </a:lnTo>
                <a:lnTo>
                  <a:pt x="3298756" y="700733"/>
                </a:lnTo>
                <a:lnTo>
                  <a:pt x="3298757" y="700729"/>
                </a:lnTo>
                <a:lnTo>
                  <a:pt x="3298756" y="700726"/>
                </a:lnTo>
                <a:lnTo>
                  <a:pt x="3298794" y="700536"/>
                </a:lnTo>
                <a:lnTo>
                  <a:pt x="3306263" y="662246"/>
                </a:lnTo>
                <a:cubicBezTo>
                  <a:pt x="3316220" y="638581"/>
                  <a:pt x="3335326" y="619615"/>
                  <a:pt x="3359090" y="609599"/>
                </a:cubicBezTo>
                <a:lnTo>
                  <a:pt x="3382942" y="604790"/>
                </a:lnTo>
                <a:close/>
                <a:moveTo>
                  <a:pt x="8967528" y="560709"/>
                </a:moveTo>
                <a:cubicBezTo>
                  <a:pt x="9044603" y="560709"/>
                  <a:pt x="9107546" y="623652"/>
                  <a:pt x="9107546" y="700727"/>
                </a:cubicBezTo>
                <a:lnTo>
                  <a:pt x="9107545" y="700731"/>
                </a:lnTo>
                <a:lnTo>
                  <a:pt x="9107546" y="700734"/>
                </a:lnTo>
                <a:cubicBezTo>
                  <a:pt x="9107546" y="777808"/>
                  <a:pt x="9044603" y="840753"/>
                  <a:pt x="8967528" y="840753"/>
                </a:cubicBezTo>
                <a:cubicBezTo>
                  <a:pt x="8890455" y="840753"/>
                  <a:pt x="8827512" y="777808"/>
                  <a:pt x="8827512" y="700734"/>
                </a:cubicBezTo>
                <a:lnTo>
                  <a:pt x="8827513" y="700731"/>
                </a:lnTo>
                <a:lnTo>
                  <a:pt x="8827512" y="700727"/>
                </a:lnTo>
                <a:lnTo>
                  <a:pt x="8827837" y="699122"/>
                </a:lnTo>
                <a:lnTo>
                  <a:pt x="8838551" y="646071"/>
                </a:lnTo>
                <a:cubicBezTo>
                  <a:pt x="8852761" y="612532"/>
                  <a:pt x="8879656" y="585776"/>
                  <a:pt x="8913135" y="571667"/>
                </a:cubicBezTo>
                <a:lnTo>
                  <a:pt x="8962419" y="561746"/>
                </a:lnTo>
                <a:close/>
                <a:moveTo>
                  <a:pt x="3954526" y="560708"/>
                </a:moveTo>
                <a:cubicBezTo>
                  <a:pt x="4031598" y="560708"/>
                  <a:pt x="4094542" y="623651"/>
                  <a:pt x="4094542" y="700726"/>
                </a:cubicBezTo>
                <a:lnTo>
                  <a:pt x="4094542" y="700729"/>
                </a:lnTo>
                <a:lnTo>
                  <a:pt x="4094542" y="700733"/>
                </a:lnTo>
                <a:cubicBezTo>
                  <a:pt x="4094542" y="777806"/>
                  <a:pt x="4031598" y="840752"/>
                  <a:pt x="3954526" y="840752"/>
                </a:cubicBezTo>
                <a:cubicBezTo>
                  <a:pt x="3877451" y="840752"/>
                  <a:pt x="3814508" y="777806"/>
                  <a:pt x="3814508" y="700733"/>
                </a:cubicBezTo>
                <a:lnTo>
                  <a:pt x="3814509" y="700729"/>
                </a:lnTo>
                <a:lnTo>
                  <a:pt x="3814508" y="700726"/>
                </a:lnTo>
                <a:lnTo>
                  <a:pt x="3814798" y="699297"/>
                </a:lnTo>
                <a:lnTo>
                  <a:pt x="3825547" y="646068"/>
                </a:lnTo>
                <a:cubicBezTo>
                  <a:pt x="3839757" y="612529"/>
                  <a:pt x="3866654" y="585775"/>
                  <a:pt x="3900132" y="571664"/>
                </a:cubicBezTo>
                <a:lnTo>
                  <a:pt x="3950168" y="561592"/>
                </a:lnTo>
                <a:close/>
                <a:moveTo>
                  <a:pt x="8410672" y="526027"/>
                </a:moveTo>
                <a:cubicBezTo>
                  <a:pt x="8507014" y="526027"/>
                  <a:pt x="8585372" y="604385"/>
                  <a:pt x="8585372" y="700727"/>
                </a:cubicBezTo>
                <a:lnTo>
                  <a:pt x="8585371" y="700731"/>
                </a:lnTo>
                <a:lnTo>
                  <a:pt x="8585372" y="700734"/>
                </a:lnTo>
                <a:cubicBezTo>
                  <a:pt x="8585372" y="797076"/>
                  <a:pt x="8507014" y="875437"/>
                  <a:pt x="8410672" y="875437"/>
                </a:cubicBezTo>
                <a:cubicBezTo>
                  <a:pt x="8314330" y="875437"/>
                  <a:pt x="8235971" y="797076"/>
                  <a:pt x="8235971" y="700734"/>
                </a:cubicBezTo>
                <a:lnTo>
                  <a:pt x="8235973" y="700731"/>
                </a:lnTo>
                <a:lnTo>
                  <a:pt x="8235971" y="700727"/>
                </a:lnTo>
                <a:cubicBezTo>
                  <a:pt x="8235971" y="604385"/>
                  <a:pt x="8314330" y="526027"/>
                  <a:pt x="8410672" y="526027"/>
                </a:cubicBezTo>
                <a:close/>
                <a:moveTo>
                  <a:pt x="4511383" y="523456"/>
                </a:moveTo>
                <a:lnTo>
                  <a:pt x="4525910" y="526391"/>
                </a:lnTo>
                <a:lnTo>
                  <a:pt x="4580269" y="537344"/>
                </a:lnTo>
                <a:lnTo>
                  <a:pt x="4580329" y="537384"/>
                </a:lnTo>
                <a:lnTo>
                  <a:pt x="4580539" y="537427"/>
                </a:lnTo>
                <a:lnTo>
                  <a:pt x="4613420" y="559640"/>
                </a:lnTo>
                <a:lnTo>
                  <a:pt x="4636628" y="575248"/>
                </a:lnTo>
                <a:lnTo>
                  <a:pt x="4636716" y="575377"/>
                </a:lnTo>
                <a:lnTo>
                  <a:pt x="4636869" y="575481"/>
                </a:lnTo>
                <a:lnTo>
                  <a:pt x="4655387" y="603014"/>
                </a:lnTo>
                <a:lnTo>
                  <a:pt x="4674683" y="631578"/>
                </a:lnTo>
                <a:lnTo>
                  <a:pt x="4674721" y="631762"/>
                </a:lnTo>
                <a:lnTo>
                  <a:pt x="4674773" y="631841"/>
                </a:lnTo>
                <a:cubicBezTo>
                  <a:pt x="4683715" y="653037"/>
                  <a:pt x="4688653" y="676319"/>
                  <a:pt x="4688653" y="700726"/>
                </a:cubicBezTo>
                <a:lnTo>
                  <a:pt x="4688653" y="700729"/>
                </a:lnTo>
                <a:lnTo>
                  <a:pt x="4688653" y="700733"/>
                </a:lnTo>
                <a:cubicBezTo>
                  <a:pt x="4688653" y="725140"/>
                  <a:pt x="4683715" y="748423"/>
                  <a:pt x="4674773" y="769618"/>
                </a:cubicBezTo>
                <a:lnTo>
                  <a:pt x="4674721" y="769698"/>
                </a:lnTo>
                <a:lnTo>
                  <a:pt x="4674683" y="769882"/>
                </a:lnTo>
                <a:lnTo>
                  <a:pt x="4655424" y="798388"/>
                </a:lnTo>
                <a:lnTo>
                  <a:pt x="4636869" y="825980"/>
                </a:lnTo>
                <a:lnTo>
                  <a:pt x="4636716" y="826084"/>
                </a:lnTo>
                <a:lnTo>
                  <a:pt x="4636628" y="826212"/>
                </a:lnTo>
                <a:lnTo>
                  <a:pt x="4613620" y="841687"/>
                </a:lnTo>
                <a:lnTo>
                  <a:pt x="4580539" y="864035"/>
                </a:lnTo>
                <a:lnTo>
                  <a:pt x="4580326" y="864079"/>
                </a:lnTo>
                <a:lnTo>
                  <a:pt x="4580269" y="864118"/>
                </a:lnTo>
                <a:lnTo>
                  <a:pt x="4527549" y="874740"/>
                </a:lnTo>
                <a:lnTo>
                  <a:pt x="4511383" y="878004"/>
                </a:lnTo>
                <a:cubicBezTo>
                  <a:pt x="4413757" y="878004"/>
                  <a:pt x="4334114" y="799002"/>
                  <a:pt x="4334114" y="700733"/>
                </a:cubicBezTo>
                <a:lnTo>
                  <a:pt x="4334115" y="700729"/>
                </a:lnTo>
                <a:lnTo>
                  <a:pt x="4334114" y="700726"/>
                </a:lnTo>
                <a:cubicBezTo>
                  <a:pt x="4334114" y="602457"/>
                  <a:pt x="4413757" y="523456"/>
                  <a:pt x="4511383" y="523456"/>
                </a:cubicBezTo>
                <a:close/>
                <a:moveTo>
                  <a:pt x="7853813" y="495840"/>
                </a:moveTo>
                <a:cubicBezTo>
                  <a:pt x="7966855" y="495840"/>
                  <a:pt x="8058701" y="587686"/>
                  <a:pt x="8058701" y="700727"/>
                </a:cubicBezTo>
                <a:lnTo>
                  <a:pt x="8058699" y="700731"/>
                </a:lnTo>
                <a:lnTo>
                  <a:pt x="8058701" y="700734"/>
                </a:lnTo>
                <a:cubicBezTo>
                  <a:pt x="8058701" y="813775"/>
                  <a:pt x="7966855" y="905624"/>
                  <a:pt x="7853813" y="905624"/>
                </a:cubicBezTo>
                <a:lnTo>
                  <a:pt x="7840604" y="902954"/>
                </a:lnTo>
                <a:lnTo>
                  <a:pt x="7773839" y="889499"/>
                </a:lnTo>
                <a:cubicBezTo>
                  <a:pt x="7724765" y="868744"/>
                  <a:pt x="7685606" y="829445"/>
                  <a:pt x="7664953" y="780429"/>
                </a:cubicBezTo>
                <a:lnTo>
                  <a:pt x="7649199" y="702084"/>
                </a:lnTo>
                <a:lnTo>
                  <a:pt x="7648926" y="700734"/>
                </a:lnTo>
                <a:lnTo>
                  <a:pt x="7648927" y="700731"/>
                </a:lnTo>
                <a:lnTo>
                  <a:pt x="7648926" y="700727"/>
                </a:lnTo>
                <a:lnTo>
                  <a:pt x="7649199" y="699377"/>
                </a:lnTo>
                <a:lnTo>
                  <a:pt x="7664953" y="621032"/>
                </a:lnTo>
                <a:cubicBezTo>
                  <a:pt x="7685606" y="572018"/>
                  <a:pt x="7724765" y="532719"/>
                  <a:pt x="7773839" y="511965"/>
                </a:cubicBezTo>
                <a:lnTo>
                  <a:pt x="7842361" y="498155"/>
                </a:lnTo>
                <a:close/>
                <a:moveTo>
                  <a:pt x="5068241" y="493269"/>
                </a:moveTo>
                <a:cubicBezTo>
                  <a:pt x="5182568" y="493269"/>
                  <a:pt x="5275698" y="586400"/>
                  <a:pt x="5275698" y="700726"/>
                </a:cubicBezTo>
                <a:lnTo>
                  <a:pt x="5275697" y="700729"/>
                </a:lnTo>
                <a:lnTo>
                  <a:pt x="5275698" y="700733"/>
                </a:lnTo>
                <a:cubicBezTo>
                  <a:pt x="5275698" y="815060"/>
                  <a:pt x="5182568" y="908192"/>
                  <a:pt x="5068241" y="908192"/>
                </a:cubicBezTo>
                <a:cubicBezTo>
                  <a:pt x="4953915" y="908192"/>
                  <a:pt x="4860783" y="815060"/>
                  <a:pt x="4860783" y="700733"/>
                </a:cubicBezTo>
                <a:lnTo>
                  <a:pt x="4860785" y="700729"/>
                </a:lnTo>
                <a:lnTo>
                  <a:pt x="4860783" y="700726"/>
                </a:lnTo>
                <a:lnTo>
                  <a:pt x="4861236" y="698502"/>
                </a:lnTo>
                <a:lnTo>
                  <a:pt x="4877122" y="619816"/>
                </a:lnTo>
                <a:cubicBezTo>
                  <a:pt x="4898156" y="570140"/>
                  <a:pt x="4937979" y="530459"/>
                  <a:pt x="4987595" y="509525"/>
                </a:cubicBezTo>
                <a:lnTo>
                  <a:pt x="5061344" y="494667"/>
                </a:lnTo>
                <a:close/>
                <a:moveTo>
                  <a:pt x="7296313" y="471433"/>
                </a:moveTo>
                <a:cubicBezTo>
                  <a:pt x="7422842" y="471433"/>
                  <a:pt x="7525607" y="574198"/>
                  <a:pt x="7525607" y="700727"/>
                </a:cubicBezTo>
                <a:lnTo>
                  <a:pt x="7525605" y="700731"/>
                </a:lnTo>
                <a:lnTo>
                  <a:pt x="7525607" y="700734"/>
                </a:lnTo>
                <a:cubicBezTo>
                  <a:pt x="7525607" y="827266"/>
                  <a:pt x="7422842" y="930031"/>
                  <a:pt x="7296313" y="930031"/>
                </a:cubicBezTo>
                <a:cubicBezTo>
                  <a:pt x="7169785" y="930031"/>
                  <a:pt x="7067019" y="827266"/>
                  <a:pt x="7067019" y="700734"/>
                </a:cubicBezTo>
                <a:lnTo>
                  <a:pt x="7067020" y="700731"/>
                </a:lnTo>
                <a:lnTo>
                  <a:pt x="7067019" y="700727"/>
                </a:lnTo>
                <a:cubicBezTo>
                  <a:pt x="7067019" y="574198"/>
                  <a:pt x="7169785" y="471433"/>
                  <a:pt x="7296313" y="471433"/>
                </a:cubicBezTo>
                <a:close/>
                <a:moveTo>
                  <a:pt x="5625740" y="471431"/>
                </a:moveTo>
                <a:cubicBezTo>
                  <a:pt x="5752269" y="471431"/>
                  <a:pt x="5855035" y="574197"/>
                  <a:pt x="5855035" y="700726"/>
                </a:cubicBezTo>
                <a:lnTo>
                  <a:pt x="5855033" y="700729"/>
                </a:lnTo>
                <a:lnTo>
                  <a:pt x="5855035" y="700734"/>
                </a:lnTo>
                <a:cubicBezTo>
                  <a:pt x="5855035" y="827266"/>
                  <a:pt x="5752269" y="930031"/>
                  <a:pt x="5625740" y="930031"/>
                </a:cubicBezTo>
                <a:lnTo>
                  <a:pt x="5602468" y="927681"/>
                </a:lnTo>
                <a:lnTo>
                  <a:pt x="5579376" y="925359"/>
                </a:lnTo>
                <a:cubicBezTo>
                  <a:pt x="5504560" y="910074"/>
                  <a:pt x="5443293" y="858502"/>
                  <a:pt x="5414389" y="789933"/>
                </a:cubicBezTo>
                <a:lnTo>
                  <a:pt x="5396752" y="702248"/>
                </a:lnTo>
                <a:lnTo>
                  <a:pt x="5396446" y="700734"/>
                </a:lnTo>
                <a:lnTo>
                  <a:pt x="5396447" y="700729"/>
                </a:lnTo>
                <a:lnTo>
                  <a:pt x="5396446" y="700726"/>
                </a:lnTo>
                <a:lnTo>
                  <a:pt x="5396751" y="699216"/>
                </a:lnTo>
                <a:lnTo>
                  <a:pt x="5414389" y="611527"/>
                </a:lnTo>
                <a:cubicBezTo>
                  <a:pt x="5443293" y="542959"/>
                  <a:pt x="5504560" y="491388"/>
                  <a:pt x="5579376" y="476103"/>
                </a:cubicBezTo>
                <a:lnTo>
                  <a:pt x="5606191" y="473405"/>
                </a:lnTo>
                <a:close/>
                <a:moveTo>
                  <a:pt x="6181956" y="461149"/>
                </a:moveTo>
                <a:cubicBezTo>
                  <a:pt x="6314266" y="461149"/>
                  <a:pt x="6421527" y="568411"/>
                  <a:pt x="6421527" y="700721"/>
                </a:cubicBezTo>
                <a:cubicBezTo>
                  <a:pt x="6421527" y="807981"/>
                  <a:pt x="6351519" y="898543"/>
                  <a:pt x="6254533" y="929373"/>
                </a:cubicBezTo>
                <a:cubicBezTo>
                  <a:pt x="6339957" y="947999"/>
                  <a:pt x="6413177" y="999381"/>
                  <a:pt x="6460706" y="1069390"/>
                </a:cubicBezTo>
                <a:cubicBezTo>
                  <a:pt x="6508235" y="999381"/>
                  <a:pt x="6581455" y="947999"/>
                  <a:pt x="6666879" y="929373"/>
                </a:cubicBezTo>
                <a:cubicBezTo>
                  <a:pt x="6569894" y="898543"/>
                  <a:pt x="6499885" y="807981"/>
                  <a:pt x="6499885" y="700721"/>
                </a:cubicBezTo>
                <a:cubicBezTo>
                  <a:pt x="6499885" y="568411"/>
                  <a:pt x="6606505" y="461149"/>
                  <a:pt x="6738813" y="461149"/>
                </a:cubicBezTo>
                <a:cubicBezTo>
                  <a:pt x="6871125" y="461149"/>
                  <a:pt x="6978385" y="568411"/>
                  <a:pt x="6978385" y="700721"/>
                </a:cubicBezTo>
                <a:cubicBezTo>
                  <a:pt x="6978385" y="807981"/>
                  <a:pt x="6908377" y="898543"/>
                  <a:pt x="6811392" y="929373"/>
                </a:cubicBezTo>
                <a:cubicBezTo>
                  <a:pt x="6900669" y="949283"/>
                  <a:pt x="6975815" y="1003235"/>
                  <a:pt x="7023345" y="1077739"/>
                </a:cubicBezTo>
                <a:cubicBezTo>
                  <a:pt x="7081791" y="989105"/>
                  <a:pt x="7181988" y="930657"/>
                  <a:pt x="7296315" y="930657"/>
                </a:cubicBezTo>
                <a:cubicBezTo>
                  <a:pt x="7422843" y="930657"/>
                  <a:pt x="7532674" y="1002593"/>
                  <a:pt x="7587268" y="1107927"/>
                </a:cubicBezTo>
                <a:cubicBezTo>
                  <a:pt x="7639293" y="1015438"/>
                  <a:pt x="7738845" y="952495"/>
                  <a:pt x="7853172" y="952495"/>
                </a:cubicBezTo>
                <a:cubicBezTo>
                  <a:pt x="7997043" y="952495"/>
                  <a:pt x="8117149" y="1051406"/>
                  <a:pt x="8149905" y="1185001"/>
                </a:cubicBezTo>
                <a:cubicBezTo>
                  <a:pt x="8181377" y="1070674"/>
                  <a:pt x="8286069" y="987177"/>
                  <a:pt x="8410029" y="987177"/>
                </a:cubicBezTo>
                <a:cubicBezTo>
                  <a:pt x="8559039" y="987177"/>
                  <a:pt x="8680430" y="1107927"/>
                  <a:pt x="8680430" y="1257578"/>
                </a:cubicBezTo>
                <a:cubicBezTo>
                  <a:pt x="8680430" y="1354563"/>
                  <a:pt x="8629689" y="1439986"/>
                  <a:pt x="8552616" y="1487515"/>
                </a:cubicBezTo>
                <a:cubicBezTo>
                  <a:pt x="8620055" y="1517060"/>
                  <a:pt x="8676577" y="1566515"/>
                  <a:pt x="8714472" y="1628817"/>
                </a:cubicBezTo>
                <a:cubicBezTo>
                  <a:pt x="8771634" y="1551743"/>
                  <a:pt x="8863480" y="1501646"/>
                  <a:pt x="8966887" y="1501646"/>
                </a:cubicBezTo>
                <a:cubicBezTo>
                  <a:pt x="9119108" y="1501646"/>
                  <a:pt x="9246279" y="1610832"/>
                  <a:pt x="9274540" y="1754704"/>
                </a:cubicBezTo>
                <a:cubicBezTo>
                  <a:pt x="9301516" y="1641662"/>
                  <a:pt x="9402996" y="1558166"/>
                  <a:pt x="9523745" y="1558166"/>
                </a:cubicBezTo>
                <a:cubicBezTo>
                  <a:pt x="9665690" y="1558166"/>
                  <a:pt x="9780658" y="1673134"/>
                  <a:pt x="9780658" y="1815078"/>
                </a:cubicBezTo>
                <a:cubicBezTo>
                  <a:pt x="9780658" y="1923624"/>
                  <a:pt x="9712576" y="2016755"/>
                  <a:pt x="9616877" y="2054007"/>
                </a:cubicBezTo>
                <a:cubicBezTo>
                  <a:pt x="9718356" y="2083552"/>
                  <a:pt x="9799284" y="2159983"/>
                  <a:pt x="9835252" y="2258894"/>
                </a:cubicBezTo>
                <a:cubicBezTo>
                  <a:pt x="9851951" y="2222927"/>
                  <a:pt x="9877001" y="2190813"/>
                  <a:pt x="9907186" y="2165122"/>
                </a:cubicBezTo>
                <a:lnTo>
                  <a:pt x="9907186" y="6706386"/>
                </a:lnTo>
                <a:lnTo>
                  <a:pt x="1456023" y="6706386"/>
                </a:lnTo>
                <a:lnTo>
                  <a:pt x="1475320" y="6664783"/>
                </a:lnTo>
                <a:cubicBezTo>
                  <a:pt x="1505828" y="6617896"/>
                  <a:pt x="1549182" y="6580162"/>
                  <a:pt x="1600564" y="6556398"/>
                </a:cubicBezTo>
                <a:cubicBezTo>
                  <a:pt x="1490735" y="6507585"/>
                  <a:pt x="1414303" y="6398397"/>
                  <a:pt x="1414303" y="6270583"/>
                </a:cubicBezTo>
                <a:cubicBezTo>
                  <a:pt x="1414303" y="6149834"/>
                  <a:pt x="1483027" y="6045142"/>
                  <a:pt x="1583865" y="5993117"/>
                </a:cubicBezTo>
                <a:cubicBezTo>
                  <a:pt x="1481743" y="5941093"/>
                  <a:pt x="1412376" y="5835758"/>
                  <a:pt x="1412376" y="5713725"/>
                </a:cubicBezTo>
                <a:cubicBezTo>
                  <a:pt x="1412376" y="5590407"/>
                  <a:pt x="1484312" y="5483146"/>
                  <a:pt x="1587719" y="5432406"/>
                </a:cubicBezTo>
                <a:cubicBezTo>
                  <a:pt x="1487523" y="5381665"/>
                  <a:pt x="1418157" y="5277616"/>
                  <a:pt x="1418157" y="5156867"/>
                </a:cubicBezTo>
                <a:cubicBezTo>
                  <a:pt x="1418157" y="5023273"/>
                  <a:pt x="1503580" y="4909589"/>
                  <a:pt x="1622402" y="4866556"/>
                </a:cubicBezTo>
                <a:cubicBezTo>
                  <a:pt x="1515783" y="4824808"/>
                  <a:pt x="1439994" y="4721401"/>
                  <a:pt x="1439994" y="4600009"/>
                </a:cubicBezTo>
                <a:cubicBezTo>
                  <a:pt x="1439994" y="4442008"/>
                  <a:pt x="1568451" y="4313552"/>
                  <a:pt x="1726452" y="4313552"/>
                </a:cubicBezTo>
                <a:cubicBezTo>
                  <a:pt x="1818298" y="4313552"/>
                  <a:pt x="1899868" y="4357227"/>
                  <a:pt x="1952535" y="4424666"/>
                </a:cubicBezTo>
                <a:cubicBezTo>
                  <a:pt x="1978227" y="4376496"/>
                  <a:pt x="2013553" y="4334747"/>
                  <a:pt x="2056584" y="4301991"/>
                </a:cubicBezTo>
                <a:cubicBezTo>
                  <a:pt x="2011624" y="4262812"/>
                  <a:pt x="1976943" y="4211429"/>
                  <a:pt x="1957032" y="4152981"/>
                </a:cubicBezTo>
                <a:cubicBezTo>
                  <a:pt x="1915925" y="4239048"/>
                  <a:pt x="1828575" y="4298780"/>
                  <a:pt x="1726452" y="4298780"/>
                </a:cubicBezTo>
                <a:cubicBezTo>
                  <a:pt x="1585150" y="4298780"/>
                  <a:pt x="1470824" y="4184454"/>
                  <a:pt x="1470824" y="4043152"/>
                </a:cubicBezTo>
                <a:cubicBezTo>
                  <a:pt x="1470824" y="3901850"/>
                  <a:pt x="1585150" y="3787524"/>
                  <a:pt x="1726452" y="3787524"/>
                </a:cubicBezTo>
                <a:cubicBezTo>
                  <a:pt x="1827932" y="3787524"/>
                  <a:pt x="1915925" y="3847256"/>
                  <a:pt x="1957032" y="3933321"/>
                </a:cubicBezTo>
                <a:cubicBezTo>
                  <a:pt x="1984649" y="3851110"/>
                  <a:pt x="2042454" y="3782385"/>
                  <a:pt x="2116959" y="3741280"/>
                </a:cubicBezTo>
                <a:cubicBezTo>
                  <a:pt x="2033462" y="3686686"/>
                  <a:pt x="1978227" y="3592912"/>
                  <a:pt x="1978227" y="3485652"/>
                </a:cubicBezTo>
                <a:cubicBezTo>
                  <a:pt x="1978227" y="3316732"/>
                  <a:pt x="2115033" y="3180568"/>
                  <a:pt x="2283309" y="3180568"/>
                </a:cubicBezTo>
                <a:cubicBezTo>
                  <a:pt x="2377083" y="3180568"/>
                  <a:pt x="2460579" y="3222959"/>
                  <a:pt x="2516458" y="3289114"/>
                </a:cubicBezTo>
                <a:cubicBezTo>
                  <a:pt x="2543434" y="3244154"/>
                  <a:pt x="2580044" y="3205617"/>
                  <a:pt x="2622434" y="3177999"/>
                </a:cubicBezTo>
                <a:cubicBezTo>
                  <a:pt x="2572980" y="3134324"/>
                  <a:pt x="2536370" y="3075876"/>
                  <a:pt x="2520311" y="3009721"/>
                </a:cubicBezTo>
                <a:cubicBezTo>
                  <a:pt x="2487557" y="3108633"/>
                  <a:pt x="2393783" y="3180568"/>
                  <a:pt x="2283309" y="3180568"/>
                </a:cubicBezTo>
                <a:cubicBezTo>
                  <a:pt x="2144577" y="3180568"/>
                  <a:pt x="2032820" y="3068168"/>
                  <a:pt x="2032820" y="2930079"/>
                </a:cubicBezTo>
                <a:cubicBezTo>
                  <a:pt x="2032820" y="2791346"/>
                  <a:pt x="2145219" y="2679589"/>
                  <a:pt x="2283309" y="2679589"/>
                </a:cubicBezTo>
                <a:cubicBezTo>
                  <a:pt x="2393783" y="2679589"/>
                  <a:pt x="2486912" y="2750882"/>
                  <a:pt x="2520311" y="2850436"/>
                </a:cubicBezTo>
                <a:cubicBezTo>
                  <a:pt x="2547288" y="2741248"/>
                  <a:pt x="2627573" y="2653898"/>
                  <a:pt x="2732265" y="2617930"/>
                </a:cubicBezTo>
                <a:cubicBezTo>
                  <a:pt x="2637849" y="2576182"/>
                  <a:pt x="2571694" y="2481766"/>
                  <a:pt x="2571694" y="2371936"/>
                </a:cubicBezTo>
                <a:cubicBezTo>
                  <a:pt x="2571694" y="2223569"/>
                  <a:pt x="2691801" y="2103463"/>
                  <a:pt x="2840168" y="2103463"/>
                </a:cubicBezTo>
                <a:cubicBezTo>
                  <a:pt x="2949356" y="2103463"/>
                  <a:pt x="3042487" y="2168332"/>
                  <a:pt x="3084876" y="2261464"/>
                </a:cubicBezTo>
                <a:cubicBezTo>
                  <a:pt x="3120202" y="2161910"/>
                  <a:pt x="3201772" y="2084194"/>
                  <a:pt x="3303897" y="2054007"/>
                </a:cubicBezTo>
                <a:cubicBezTo>
                  <a:pt x="3208195" y="2016755"/>
                  <a:pt x="3140113" y="1924266"/>
                  <a:pt x="3140113" y="1815078"/>
                </a:cubicBezTo>
                <a:cubicBezTo>
                  <a:pt x="3140113" y="1673134"/>
                  <a:pt x="3255082" y="1558166"/>
                  <a:pt x="3397026" y="1558166"/>
                </a:cubicBezTo>
                <a:cubicBezTo>
                  <a:pt x="3517775" y="1558166"/>
                  <a:pt x="3619255" y="1642305"/>
                  <a:pt x="3646231" y="1754704"/>
                </a:cubicBezTo>
                <a:cubicBezTo>
                  <a:pt x="3674490" y="1610191"/>
                  <a:pt x="3801664" y="1501646"/>
                  <a:pt x="3953882" y="1501646"/>
                </a:cubicBezTo>
                <a:cubicBezTo>
                  <a:pt x="4057291" y="1501646"/>
                  <a:pt x="4149138" y="1551743"/>
                  <a:pt x="4206301" y="1628817"/>
                </a:cubicBezTo>
                <a:cubicBezTo>
                  <a:pt x="4244195" y="1566515"/>
                  <a:pt x="4300714" y="1517060"/>
                  <a:pt x="4368154" y="1487515"/>
                </a:cubicBezTo>
                <a:cubicBezTo>
                  <a:pt x="4291724" y="1439344"/>
                  <a:pt x="4240341" y="1354563"/>
                  <a:pt x="4240341" y="1257578"/>
                </a:cubicBezTo>
                <a:cubicBezTo>
                  <a:pt x="4240341" y="1108569"/>
                  <a:pt x="4361090" y="987177"/>
                  <a:pt x="4510741" y="987177"/>
                </a:cubicBezTo>
                <a:cubicBezTo>
                  <a:pt x="4634702" y="987177"/>
                  <a:pt x="4738750" y="1071317"/>
                  <a:pt x="4770864" y="1185001"/>
                </a:cubicBezTo>
                <a:cubicBezTo>
                  <a:pt x="4803622" y="1051406"/>
                  <a:pt x="4924371" y="952495"/>
                  <a:pt x="5067599" y="952495"/>
                </a:cubicBezTo>
                <a:cubicBezTo>
                  <a:pt x="5181924" y="952495"/>
                  <a:pt x="5280836" y="1015438"/>
                  <a:pt x="5333505" y="1107927"/>
                </a:cubicBezTo>
                <a:cubicBezTo>
                  <a:pt x="5388098" y="1002593"/>
                  <a:pt x="5497927" y="930657"/>
                  <a:pt x="5624456" y="930657"/>
                </a:cubicBezTo>
                <a:cubicBezTo>
                  <a:pt x="5738140" y="930657"/>
                  <a:pt x="5838978" y="989105"/>
                  <a:pt x="5897426" y="1077739"/>
                </a:cubicBezTo>
                <a:cubicBezTo>
                  <a:pt x="5944954" y="1003235"/>
                  <a:pt x="6020744" y="948641"/>
                  <a:pt x="6109379" y="929373"/>
                </a:cubicBezTo>
                <a:cubicBezTo>
                  <a:pt x="6012394" y="898543"/>
                  <a:pt x="5942386" y="807981"/>
                  <a:pt x="5942386" y="700721"/>
                </a:cubicBezTo>
                <a:cubicBezTo>
                  <a:pt x="5942386" y="568411"/>
                  <a:pt x="6049646" y="461149"/>
                  <a:pt x="6181956" y="461149"/>
                </a:cubicBezTo>
                <a:close/>
                <a:moveTo>
                  <a:pt x="2840168" y="113689"/>
                </a:moveTo>
                <a:cubicBezTo>
                  <a:pt x="2856867" y="113689"/>
                  <a:pt x="2869713" y="127176"/>
                  <a:pt x="2869713" y="143233"/>
                </a:cubicBezTo>
                <a:lnTo>
                  <a:pt x="2869581" y="143551"/>
                </a:lnTo>
                <a:lnTo>
                  <a:pt x="2869713" y="143871"/>
                </a:lnTo>
                <a:cubicBezTo>
                  <a:pt x="2869713" y="159928"/>
                  <a:pt x="2856867" y="173415"/>
                  <a:pt x="2840168" y="173415"/>
                </a:cubicBezTo>
                <a:cubicBezTo>
                  <a:pt x="2824110" y="173415"/>
                  <a:pt x="2810622" y="159928"/>
                  <a:pt x="2810622" y="143871"/>
                </a:cubicBezTo>
                <a:lnTo>
                  <a:pt x="2810753" y="143551"/>
                </a:lnTo>
                <a:lnTo>
                  <a:pt x="2810622" y="143233"/>
                </a:lnTo>
                <a:cubicBezTo>
                  <a:pt x="2810622" y="127176"/>
                  <a:pt x="2824110" y="113689"/>
                  <a:pt x="2840168" y="113689"/>
                </a:cubicBezTo>
                <a:close/>
                <a:moveTo>
                  <a:pt x="3397667" y="93779"/>
                </a:moveTo>
                <a:cubicBezTo>
                  <a:pt x="3425285" y="93779"/>
                  <a:pt x="3447123" y="116257"/>
                  <a:pt x="3447123" y="143233"/>
                </a:cubicBezTo>
                <a:lnTo>
                  <a:pt x="3446990" y="143553"/>
                </a:lnTo>
                <a:lnTo>
                  <a:pt x="3447123" y="143871"/>
                </a:lnTo>
                <a:cubicBezTo>
                  <a:pt x="3447123" y="170847"/>
                  <a:pt x="3425285" y="193326"/>
                  <a:pt x="3397667" y="193326"/>
                </a:cubicBezTo>
                <a:cubicBezTo>
                  <a:pt x="3370050" y="193326"/>
                  <a:pt x="3348213" y="170847"/>
                  <a:pt x="3348213" y="143871"/>
                </a:cubicBezTo>
                <a:lnTo>
                  <a:pt x="3348344" y="143553"/>
                </a:lnTo>
                <a:lnTo>
                  <a:pt x="3348213" y="143233"/>
                </a:lnTo>
                <a:cubicBezTo>
                  <a:pt x="3348213" y="116257"/>
                  <a:pt x="3370050" y="93779"/>
                  <a:pt x="3397667" y="93779"/>
                </a:cubicBezTo>
                <a:close/>
                <a:moveTo>
                  <a:pt x="3954524" y="71299"/>
                </a:moveTo>
                <a:cubicBezTo>
                  <a:pt x="3994346" y="71299"/>
                  <a:pt x="4026460" y="103413"/>
                  <a:pt x="4026460" y="143235"/>
                </a:cubicBezTo>
                <a:lnTo>
                  <a:pt x="4026397" y="143553"/>
                </a:lnTo>
                <a:lnTo>
                  <a:pt x="4026460" y="143871"/>
                </a:lnTo>
                <a:cubicBezTo>
                  <a:pt x="4026460" y="183692"/>
                  <a:pt x="3994346" y="215806"/>
                  <a:pt x="3954524" y="215806"/>
                </a:cubicBezTo>
                <a:cubicBezTo>
                  <a:pt x="3914703" y="215806"/>
                  <a:pt x="3881946" y="183692"/>
                  <a:pt x="3882590" y="143871"/>
                </a:cubicBezTo>
                <a:lnTo>
                  <a:pt x="3882654" y="143553"/>
                </a:lnTo>
                <a:lnTo>
                  <a:pt x="3882590" y="143235"/>
                </a:lnTo>
                <a:cubicBezTo>
                  <a:pt x="3881946" y="103413"/>
                  <a:pt x="3914703" y="71299"/>
                  <a:pt x="3954524" y="71299"/>
                </a:cubicBezTo>
                <a:close/>
                <a:moveTo>
                  <a:pt x="4511383" y="47529"/>
                </a:moveTo>
                <a:cubicBezTo>
                  <a:pt x="4564694" y="47529"/>
                  <a:pt x="4607725" y="90562"/>
                  <a:pt x="4607725" y="143871"/>
                </a:cubicBezTo>
                <a:lnTo>
                  <a:pt x="4607725" y="143873"/>
                </a:lnTo>
                <a:lnTo>
                  <a:pt x="4607725" y="143877"/>
                </a:lnTo>
                <a:cubicBezTo>
                  <a:pt x="4607725" y="197187"/>
                  <a:pt x="4564694" y="240219"/>
                  <a:pt x="4511383" y="240219"/>
                </a:cubicBezTo>
                <a:cubicBezTo>
                  <a:pt x="4458074" y="240219"/>
                  <a:pt x="4415041" y="197187"/>
                  <a:pt x="4415041" y="143877"/>
                </a:cubicBezTo>
                <a:lnTo>
                  <a:pt x="4415042" y="143873"/>
                </a:lnTo>
                <a:lnTo>
                  <a:pt x="4415041" y="143871"/>
                </a:lnTo>
                <a:cubicBezTo>
                  <a:pt x="4415041" y="90562"/>
                  <a:pt x="4458074" y="47529"/>
                  <a:pt x="4511383" y="47529"/>
                </a:cubicBezTo>
                <a:close/>
                <a:moveTo>
                  <a:pt x="5068241" y="26334"/>
                </a:moveTo>
                <a:cubicBezTo>
                  <a:pt x="5133111" y="26334"/>
                  <a:pt x="5185778" y="79001"/>
                  <a:pt x="5185778" y="143871"/>
                </a:cubicBezTo>
                <a:lnTo>
                  <a:pt x="5185778" y="143874"/>
                </a:lnTo>
                <a:lnTo>
                  <a:pt x="5185778" y="143877"/>
                </a:lnTo>
                <a:cubicBezTo>
                  <a:pt x="5185778" y="208748"/>
                  <a:pt x="5133111" y="261414"/>
                  <a:pt x="5068241" y="261414"/>
                </a:cubicBezTo>
                <a:cubicBezTo>
                  <a:pt x="5003370" y="261414"/>
                  <a:pt x="4950704" y="208748"/>
                  <a:pt x="4950704" y="143877"/>
                </a:cubicBezTo>
                <a:lnTo>
                  <a:pt x="4950705" y="143874"/>
                </a:lnTo>
                <a:lnTo>
                  <a:pt x="4950704" y="143871"/>
                </a:lnTo>
                <a:lnTo>
                  <a:pt x="4950925" y="142777"/>
                </a:lnTo>
                <a:lnTo>
                  <a:pt x="4959946" y="97875"/>
                </a:lnTo>
                <a:cubicBezTo>
                  <a:pt x="4971848" y="69695"/>
                  <a:pt x="4994389" y="47295"/>
                  <a:pt x="5022508" y="35492"/>
                </a:cubicBezTo>
                <a:lnTo>
                  <a:pt x="5064898" y="27009"/>
                </a:lnTo>
                <a:close/>
                <a:moveTo>
                  <a:pt x="7296313" y="10283"/>
                </a:moveTo>
                <a:cubicBezTo>
                  <a:pt x="7369535" y="10283"/>
                  <a:pt x="7429266" y="70015"/>
                  <a:pt x="7429266" y="143235"/>
                </a:cubicBezTo>
                <a:lnTo>
                  <a:pt x="7429201" y="143553"/>
                </a:lnTo>
                <a:lnTo>
                  <a:pt x="7429266" y="143871"/>
                </a:lnTo>
                <a:cubicBezTo>
                  <a:pt x="7429266" y="217091"/>
                  <a:pt x="7369535" y="276822"/>
                  <a:pt x="7296313" y="276822"/>
                </a:cubicBezTo>
                <a:cubicBezTo>
                  <a:pt x="7223093" y="276822"/>
                  <a:pt x="7163362" y="217091"/>
                  <a:pt x="7163362" y="143871"/>
                </a:cubicBezTo>
                <a:lnTo>
                  <a:pt x="7163425" y="143553"/>
                </a:lnTo>
                <a:lnTo>
                  <a:pt x="7163362" y="143235"/>
                </a:lnTo>
                <a:cubicBezTo>
                  <a:pt x="7163362" y="70015"/>
                  <a:pt x="7223093" y="10283"/>
                  <a:pt x="7296313" y="10283"/>
                </a:cubicBezTo>
                <a:close/>
                <a:moveTo>
                  <a:pt x="5625740" y="10283"/>
                </a:moveTo>
                <a:cubicBezTo>
                  <a:pt x="5699603" y="10283"/>
                  <a:pt x="5758691" y="70015"/>
                  <a:pt x="5758691" y="143234"/>
                </a:cubicBezTo>
                <a:lnTo>
                  <a:pt x="5758627" y="143553"/>
                </a:lnTo>
                <a:lnTo>
                  <a:pt x="5758691" y="143871"/>
                </a:lnTo>
                <a:cubicBezTo>
                  <a:pt x="5758691" y="217091"/>
                  <a:pt x="5699603" y="276822"/>
                  <a:pt x="5625740" y="276822"/>
                </a:cubicBezTo>
                <a:cubicBezTo>
                  <a:pt x="5551877" y="276822"/>
                  <a:pt x="5492145" y="217091"/>
                  <a:pt x="5492788" y="143871"/>
                </a:cubicBezTo>
                <a:lnTo>
                  <a:pt x="5492852" y="143553"/>
                </a:lnTo>
                <a:lnTo>
                  <a:pt x="5492788" y="143234"/>
                </a:lnTo>
                <a:cubicBezTo>
                  <a:pt x="5492145" y="70015"/>
                  <a:pt x="5551877" y="10283"/>
                  <a:pt x="5625740" y="10283"/>
                </a:cubicBezTo>
                <a:close/>
                <a:moveTo>
                  <a:pt x="6182597" y="1"/>
                </a:moveTo>
                <a:cubicBezTo>
                  <a:pt x="6261599" y="1"/>
                  <a:pt x="6325827" y="64228"/>
                  <a:pt x="6325827" y="143228"/>
                </a:cubicBezTo>
                <a:lnTo>
                  <a:pt x="6325761" y="143553"/>
                </a:lnTo>
                <a:lnTo>
                  <a:pt x="6325827" y="143876"/>
                </a:lnTo>
                <a:cubicBezTo>
                  <a:pt x="6325827" y="222877"/>
                  <a:pt x="6261599" y="287105"/>
                  <a:pt x="6182597" y="287105"/>
                </a:cubicBezTo>
                <a:cubicBezTo>
                  <a:pt x="6103598" y="287105"/>
                  <a:pt x="6039369" y="222877"/>
                  <a:pt x="6039369" y="143876"/>
                </a:cubicBezTo>
                <a:lnTo>
                  <a:pt x="6039435" y="143554"/>
                </a:lnTo>
                <a:lnTo>
                  <a:pt x="6039369" y="143228"/>
                </a:lnTo>
                <a:cubicBezTo>
                  <a:pt x="6039369" y="64228"/>
                  <a:pt x="6103598" y="1"/>
                  <a:pt x="6182597" y="1"/>
                </a:cubicBezTo>
                <a:close/>
                <a:moveTo>
                  <a:pt x="6739456" y="0"/>
                </a:moveTo>
                <a:cubicBezTo>
                  <a:pt x="6818456" y="0"/>
                  <a:pt x="6882684" y="64228"/>
                  <a:pt x="6882684" y="143228"/>
                </a:cubicBezTo>
                <a:lnTo>
                  <a:pt x="6882619" y="143553"/>
                </a:lnTo>
                <a:lnTo>
                  <a:pt x="6882684" y="143877"/>
                </a:lnTo>
                <a:cubicBezTo>
                  <a:pt x="6882684" y="222878"/>
                  <a:pt x="6818456" y="287105"/>
                  <a:pt x="6739456" y="287105"/>
                </a:cubicBezTo>
                <a:cubicBezTo>
                  <a:pt x="6660455" y="287105"/>
                  <a:pt x="6596227" y="222878"/>
                  <a:pt x="6596227" y="143877"/>
                </a:cubicBezTo>
                <a:lnTo>
                  <a:pt x="6596293" y="143554"/>
                </a:lnTo>
                <a:lnTo>
                  <a:pt x="6596227" y="143228"/>
                </a:lnTo>
                <a:cubicBezTo>
                  <a:pt x="6596227" y="64228"/>
                  <a:pt x="6660455" y="0"/>
                  <a:pt x="6739456" y="0"/>
                </a:cubicBezTo>
                <a:close/>
              </a:path>
            </a:pathLst>
          </a:custGeom>
        </p:spPr>
        <p:txBody>
          <a:bodyPr wrap="square" anchor="ctr" anchorCtr="0">
            <a:noAutofit/>
          </a:bodyPr>
          <a:lstStyle>
            <a:lvl1pPr marL="0" indent="0" algn="ctr">
              <a:buNone/>
              <a:defRPr/>
            </a:lvl1pPr>
          </a:lstStyle>
          <a:p>
            <a:r>
              <a:rPr lang="en-US"/>
              <a:t>Add image</a:t>
            </a:r>
          </a:p>
        </p:txBody>
      </p:sp>
      <p:cxnSp>
        <p:nvCxnSpPr>
          <p:cNvPr id="9" name="Straight Connector 8">
            <a:extLst>
              <a:ext uri="{FF2B5EF4-FFF2-40B4-BE49-F238E27FC236}">
                <a16:creationId xmlns:a16="http://schemas.microsoft.com/office/drawing/2014/main" id="{4D935805-535E-4340-8431-1F68CB21AE9D}"/>
              </a:ext>
            </a:extLst>
          </p:cNvPr>
          <p:cNvCxnSpPr>
            <a:cxnSpLocks/>
          </p:cNvCxnSpPr>
          <p:nvPr userDrawn="1"/>
        </p:nvCxnSpPr>
        <p:spPr>
          <a:xfrm>
            <a:off x="358775" y="269875"/>
            <a:ext cx="173200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01630214"/>
      </p:ext>
    </p:extLst>
  </p:cSld>
  <p:clrMapOvr>
    <a:masterClrMapping/>
  </p:clrMapOvr>
  <p:extLst>
    <p:ext uri="{DCECCB84-F9BA-43D5-87BE-67443E8EF086}">
      <p15:sldGuideLst xmlns:p15="http://schemas.microsoft.com/office/powerpoint/2012/main">
        <p15:guide id="1" orient="horz" pos="170" userDrawn="1">
          <p15:clr>
            <a:srgbClr val="717275"/>
          </p15:clr>
        </p15:guide>
        <p15:guide id="2" orient="horz" pos="762" userDrawn="1">
          <p15:clr>
            <a:srgbClr val="717275"/>
          </p15:clr>
        </p15:guide>
        <p15:guide id="3" orient="horz" pos="1133" userDrawn="1">
          <p15:clr>
            <a:srgbClr val="FF96FF"/>
          </p15:clr>
        </p15:guide>
        <p15:guide id="4" orient="horz" pos="3753" userDrawn="1">
          <p15:clr>
            <a:srgbClr val="FF96FF"/>
          </p15:clr>
        </p15:guide>
        <p15:guide id="5" pos="226" userDrawn="1">
          <p15:clr>
            <a:srgbClr val="FF96FF"/>
          </p15:clr>
        </p15:guide>
        <p15:guide id="6" pos="1323" userDrawn="1">
          <p15:clr>
            <a:srgbClr val="FF96FF"/>
          </p15:clr>
        </p15:guide>
        <p15:guide id="7" pos="1453" userDrawn="1">
          <p15:clr>
            <a:srgbClr val="FF96FF"/>
          </p15:clr>
        </p15:guide>
        <p15:guide id="8" pos="2547" userDrawn="1">
          <p15:clr>
            <a:srgbClr val="FF96FF"/>
          </p15:clr>
        </p15:guide>
        <p15:guide id="9" pos="2680" userDrawn="1">
          <p15:clr>
            <a:srgbClr val="FF96FF"/>
          </p15:clr>
        </p15:guide>
        <p15:guide id="10" pos="3795" userDrawn="1">
          <p15:clr>
            <a:srgbClr val="FF96FF"/>
          </p15:clr>
        </p15:guide>
        <p15:guide id="11" pos="3908" userDrawn="1">
          <p15:clr>
            <a:srgbClr val="FF96FF"/>
          </p15:clr>
        </p15:guide>
        <p15:guide id="12" pos="4999" userDrawn="1">
          <p15:clr>
            <a:srgbClr val="FF96FF"/>
          </p15:clr>
        </p15:guide>
        <p15:guide id="13" pos="5135" userDrawn="1">
          <p15:clr>
            <a:srgbClr val="FF96FF"/>
          </p15:clr>
        </p15:guide>
        <p15:guide id="14" pos="6226" userDrawn="1">
          <p15:clr>
            <a:srgbClr val="FF96FF"/>
          </p15:clr>
        </p15:guide>
        <p15:guide id="15" pos="6362" userDrawn="1">
          <p15:clr>
            <a:srgbClr val="FF96FF"/>
          </p15:clr>
        </p15:guide>
        <p15:guide id="16" pos="7453" userDrawn="1">
          <p15:clr>
            <a:srgbClr val="FF96FF"/>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Dot Screen Picture and Caption Right">
    <p:spTree>
      <p:nvGrpSpPr>
        <p:cNvPr id="1" name=""/>
        <p:cNvGrpSpPr/>
        <p:nvPr/>
      </p:nvGrpSpPr>
      <p:grpSpPr>
        <a:xfrm>
          <a:off x="0" y="0"/>
          <a:ext cx="0" cy="0"/>
          <a:chOff x="0" y="0"/>
          <a:chExt cx="0" cy="0"/>
        </a:xfrm>
      </p:grpSpPr>
      <p:sp>
        <p:nvSpPr>
          <p:cNvPr id="6" name="Guides" hidden="1">
            <a:extLst>
              <a:ext uri="{FF2B5EF4-FFF2-40B4-BE49-F238E27FC236}">
                <a16:creationId xmlns:a16="http://schemas.microsoft.com/office/drawing/2014/main" id="{53DE0FE0-6D29-4965-A5CE-ABC21AEA398E}"/>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8" name="Text Placeholder 16">
            <a:extLst>
              <a:ext uri="{FF2B5EF4-FFF2-40B4-BE49-F238E27FC236}">
                <a16:creationId xmlns:a16="http://schemas.microsoft.com/office/drawing/2014/main" id="{FBB49A15-B275-43D0-A0CB-A5A482CA9DC5}"/>
              </a:ext>
            </a:extLst>
          </p:cNvPr>
          <p:cNvSpPr>
            <a:spLocks noGrp="1"/>
          </p:cNvSpPr>
          <p:nvPr>
            <p:ph type="body" sz="quarter" idx="17" hasCustomPrompt="1"/>
          </p:nvPr>
        </p:nvSpPr>
        <p:spPr>
          <a:xfrm>
            <a:off x="10099675" y="4875751"/>
            <a:ext cx="1732000" cy="1051777"/>
          </a:xfrm>
        </p:spPr>
        <p:txBody>
          <a:bodyPr/>
          <a:lstStyle>
            <a:lvl1pPr marL="0" indent="0">
              <a:buFont typeface="Arial" panose="020B0604020202020204" pitchFamily="34" charset="0"/>
              <a:buNone/>
              <a:defRPr sz="1000">
                <a:latin typeface="Arial Black" panose="020B0A04020102020204" pitchFamily="34" charset="0"/>
              </a:defRPr>
            </a:lvl1pPr>
            <a:lvl2pPr marL="0" indent="0">
              <a:buFont typeface="Arial" panose="020B0604020202020204" pitchFamily="34" charset="0"/>
              <a:buNone/>
              <a:defRPr sz="1000">
                <a:latin typeface="+mj-lt"/>
              </a:defRPr>
            </a:lvl2pPr>
            <a:lvl3pPr marL="0" indent="0">
              <a:buFont typeface="Arial" panose="020B0604020202020204" pitchFamily="34" charset="0"/>
              <a:buNone/>
              <a:defRPr sz="1000">
                <a:latin typeface="+mj-lt"/>
              </a:defRPr>
            </a:lvl3pPr>
            <a:lvl4pPr marL="0" indent="0">
              <a:buFont typeface="Arial" panose="020B0604020202020204" pitchFamily="34" charset="0"/>
              <a:buNone/>
              <a:defRPr sz="1000">
                <a:latin typeface="+mj-lt"/>
              </a:defRPr>
            </a:lvl4pPr>
            <a:lvl5pPr marL="0" indent="0">
              <a:buFont typeface="Arial" panose="020B0604020202020204" pitchFamily="34" charset="0"/>
              <a:buNone/>
              <a:defRPr sz="1000">
                <a:latin typeface="+mj-lt"/>
              </a:defRPr>
            </a:lvl5pPr>
          </a:lstStyle>
          <a:p>
            <a:pPr lvl="0"/>
            <a:r>
              <a:rPr lang="en-US"/>
              <a:t>Add supporting caption for images or diagrams ◄</a:t>
            </a:r>
          </a:p>
        </p:txBody>
      </p:sp>
      <p:sp>
        <p:nvSpPr>
          <p:cNvPr id="151" name="Picture Placeholder 150">
            <a:extLst>
              <a:ext uri="{FF2B5EF4-FFF2-40B4-BE49-F238E27FC236}">
                <a16:creationId xmlns:a16="http://schemas.microsoft.com/office/drawing/2014/main" id="{18CA7500-4ECF-435C-8AC6-9903366BED9A}"/>
              </a:ext>
            </a:extLst>
          </p:cNvPr>
          <p:cNvSpPr>
            <a:spLocks noGrp="1"/>
          </p:cNvSpPr>
          <p:nvPr>
            <p:ph type="pic" sz="quarter" idx="18" hasCustomPrompt="1"/>
          </p:nvPr>
        </p:nvSpPr>
        <p:spPr>
          <a:xfrm>
            <a:off x="-1" y="1"/>
            <a:ext cx="10560573" cy="6322049"/>
          </a:xfrm>
          <a:custGeom>
            <a:avLst/>
            <a:gdLst>
              <a:gd name="connsiteX0" fmla="*/ 7063184 w 9901550"/>
              <a:gd name="connsiteY0" fmla="*/ 5754862 h 5927527"/>
              <a:gd name="connsiteX1" fmla="*/ 7092710 w 9901550"/>
              <a:gd name="connsiteY1" fmla="*/ 5784388 h 5927527"/>
              <a:gd name="connsiteX2" fmla="*/ 7092578 w 9901550"/>
              <a:gd name="connsiteY2" fmla="*/ 5784710 h 5927527"/>
              <a:gd name="connsiteX3" fmla="*/ 7092710 w 9901550"/>
              <a:gd name="connsiteY3" fmla="*/ 5785031 h 5927527"/>
              <a:gd name="connsiteX4" fmla="*/ 7063184 w 9901550"/>
              <a:gd name="connsiteY4" fmla="*/ 5814557 h 5927527"/>
              <a:gd name="connsiteX5" fmla="*/ 7033658 w 9901550"/>
              <a:gd name="connsiteY5" fmla="*/ 5785031 h 5927527"/>
              <a:gd name="connsiteX6" fmla="*/ 7033792 w 9901550"/>
              <a:gd name="connsiteY6" fmla="*/ 5784710 h 5927527"/>
              <a:gd name="connsiteX7" fmla="*/ 7033658 w 9901550"/>
              <a:gd name="connsiteY7" fmla="*/ 5784388 h 5927527"/>
              <a:gd name="connsiteX8" fmla="*/ 7063184 w 9901550"/>
              <a:gd name="connsiteY8" fmla="*/ 5754862 h 5927527"/>
              <a:gd name="connsiteX9" fmla="*/ 6506679 w 9901550"/>
              <a:gd name="connsiteY9" fmla="*/ 5734964 h 5927527"/>
              <a:gd name="connsiteX10" fmla="*/ 6556104 w 9901550"/>
              <a:gd name="connsiteY10" fmla="*/ 5784388 h 5927527"/>
              <a:gd name="connsiteX11" fmla="*/ 6541742 w 9901550"/>
              <a:gd name="connsiteY11" fmla="*/ 5819210 h 5927527"/>
              <a:gd name="connsiteX12" fmla="*/ 6541546 w 9901550"/>
              <a:gd name="connsiteY12" fmla="*/ 5819344 h 5927527"/>
              <a:gd name="connsiteX13" fmla="*/ 6541501 w 9901550"/>
              <a:gd name="connsiteY13" fmla="*/ 5819451 h 5927527"/>
              <a:gd name="connsiteX14" fmla="*/ 6534410 w 9901550"/>
              <a:gd name="connsiteY14" fmla="*/ 5824195 h 5927527"/>
              <a:gd name="connsiteX15" fmla="*/ 6526046 w 9901550"/>
              <a:gd name="connsiteY15" fmla="*/ 5829882 h 5927527"/>
              <a:gd name="connsiteX16" fmla="*/ 6525851 w 9901550"/>
              <a:gd name="connsiteY16" fmla="*/ 5829921 h 5927527"/>
              <a:gd name="connsiteX17" fmla="*/ 6525775 w 9901550"/>
              <a:gd name="connsiteY17" fmla="*/ 5829972 h 5927527"/>
              <a:gd name="connsiteX18" fmla="*/ 6506679 w 9901550"/>
              <a:gd name="connsiteY18" fmla="*/ 5833813 h 5927527"/>
              <a:gd name="connsiteX19" fmla="*/ 6487583 w 9901550"/>
              <a:gd name="connsiteY19" fmla="*/ 5829972 h 5927527"/>
              <a:gd name="connsiteX20" fmla="*/ 6487508 w 9901550"/>
              <a:gd name="connsiteY20" fmla="*/ 5829921 h 5927527"/>
              <a:gd name="connsiteX21" fmla="*/ 6487312 w 9901550"/>
              <a:gd name="connsiteY21" fmla="*/ 5829882 h 5927527"/>
              <a:gd name="connsiteX22" fmla="*/ 6478943 w 9901550"/>
              <a:gd name="connsiteY22" fmla="*/ 5824192 h 5927527"/>
              <a:gd name="connsiteX23" fmla="*/ 6471858 w 9901550"/>
              <a:gd name="connsiteY23" fmla="*/ 5819451 h 5927527"/>
              <a:gd name="connsiteX24" fmla="*/ 6471813 w 9901550"/>
              <a:gd name="connsiteY24" fmla="*/ 5819344 h 5927527"/>
              <a:gd name="connsiteX25" fmla="*/ 6471617 w 9901550"/>
              <a:gd name="connsiteY25" fmla="*/ 5819210 h 5927527"/>
              <a:gd name="connsiteX26" fmla="*/ 6457255 w 9901550"/>
              <a:gd name="connsiteY26" fmla="*/ 5784388 h 5927527"/>
              <a:gd name="connsiteX27" fmla="*/ 6471617 w 9901550"/>
              <a:gd name="connsiteY27" fmla="*/ 5749567 h 5927527"/>
              <a:gd name="connsiteX28" fmla="*/ 6471813 w 9901550"/>
              <a:gd name="connsiteY28" fmla="*/ 5749434 h 5927527"/>
              <a:gd name="connsiteX29" fmla="*/ 6471858 w 9901550"/>
              <a:gd name="connsiteY29" fmla="*/ 5749326 h 5927527"/>
              <a:gd name="connsiteX30" fmla="*/ 6478944 w 9901550"/>
              <a:gd name="connsiteY30" fmla="*/ 5744586 h 5927527"/>
              <a:gd name="connsiteX31" fmla="*/ 6487312 w 9901550"/>
              <a:gd name="connsiteY31" fmla="*/ 5738896 h 5927527"/>
              <a:gd name="connsiteX32" fmla="*/ 6487508 w 9901550"/>
              <a:gd name="connsiteY32" fmla="*/ 5738856 h 5927527"/>
              <a:gd name="connsiteX33" fmla="*/ 6487583 w 9901550"/>
              <a:gd name="connsiteY33" fmla="*/ 5738806 h 5927527"/>
              <a:gd name="connsiteX34" fmla="*/ 6506679 w 9901550"/>
              <a:gd name="connsiteY34" fmla="*/ 5734964 h 5927527"/>
              <a:gd name="connsiteX35" fmla="*/ 5949532 w 9901550"/>
              <a:gd name="connsiteY35" fmla="*/ 5712499 h 5927527"/>
              <a:gd name="connsiteX36" fmla="*/ 6021422 w 9901550"/>
              <a:gd name="connsiteY36" fmla="*/ 5784389 h 5927527"/>
              <a:gd name="connsiteX37" fmla="*/ 6021357 w 9901550"/>
              <a:gd name="connsiteY37" fmla="*/ 5784710 h 5927527"/>
              <a:gd name="connsiteX38" fmla="*/ 6021422 w 9901550"/>
              <a:gd name="connsiteY38" fmla="*/ 5785031 h 5927527"/>
              <a:gd name="connsiteX39" fmla="*/ 5949532 w 9901550"/>
              <a:gd name="connsiteY39" fmla="*/ 5856921 h 5927527"/>
              <a:gd name="connsiteX40" fmla="*/ 5877643 w 9901550"/>
              <a:gd name="connsiteY40" fmla="*/ 5785031 h 5927527"/>
              <a:gd name="connsiteX41" fmla="*/ 5877706 w 9901550"/>
              <a:gd name="connsiteY41" fmla="*/ 5784710 h 5927527"/>
              <a:gd name="connsiteX42" fmla="*/ 5877643 w 9901550"/>
              <a:gd name="connsiteY42" fmla="*/ 5784389 h 5927527"/>
              <a:gd name="connsiteX43" fmla="*/ 5949532 w 9901550"/>
              <a:gd name="connsiteY43" fmla="*/ 5712499 h 5927527"/>
              <a:gd name="connsiteX44" fmla="*/ 5393027 w 9901550"/>
              <a:gd name="connsiteY44" fmla="*/ 5688107 h 5927527"/>
              <a:gd name="connsiteX45" fmla="*/ 5489308 w 9901550"/>
              <a:gd name="connsiteY45" fmla="*/ 5784388 h 5927527"/>
              <a:gd name="connsiteX46" fmla="*/ 5393027 w 9901550"/>
              <a:gd name="connsiteY46" fmla="*/ 5880669 h 5927527"/>
              <a:gd name="connsiteX47" fmla="*/ 5296746 w 9901550"/>
              <a:gd name="connsiteY47" fmla="*/ 5784388 h 5927527"/>
              <a:gd name="connsiteX48" fmla="*/ 5393027 w 9901550"/>
              <a:gd name="connsiteY48" fmla="*/ 5688107 h 5927527"/>
              <a:gd name="connsiteX49" fmla="*/ 4836522 w 9901550"/>
              <a:gd name="connsiteY49" fmla="*/ 5666926 h 5927527"/>
              <a:gd name="connsiteX50" fmla="*/ 4953985 w 9901550"/>
              <a:gd name="connsiteY50" fmla="*/ 5784389 h 5927527"/>
              <a:gd name="connsiteX51" fmla="*/ 4836522 w 9901550"/>
              <a:gd name="connsiteY51" fmla="*/ 5901852 h 5927527"/>
              <a:gd name="connsiteX52" fmla="*/ 4719059 w 9901550"/>
              <a:gd name="connsiteY52" fmla="*/ 5784389 h 5927527"/>
              <a:gd name="connsiteX53" fmla="*/ 4836522 w 9901550"/>
              <a:gd name="connsiteY53" fmla="*/ 5666926 h 5927527"/>
              <a:gd name="connsiteX54" fmla="*/ 4280017 w 9901550"/>
              <a:gd name="connsiteY54" fmla="*/ 5651521 h 5927527"/>
              <a:gd name="connsiteX55" fmla="*/ 4412885 w 9901550"/>
              <a:gd name="connsiteY55" fmla="*/ 5784389 h 5927527"/>
              <a:gd name="connsiteX56" fmla="*/ 4412821 w 9901550"/>
              <a:gd name="connsiteY56" fmla="*/ 5784710 h 5927527"/>
              <a:gd name="connsiteX57" fmla="*/ 4412885 w 9901550"/>
              <a:gd name="connsiteY57" fmla="*/ 5785031 h 5927527"/>
              <a:gd name="connsiteX58" fmla="*/ 4280017 w 9901550"/>
              <a:gd name="connsiteY58" fmla="*/ 5917899 h 5927527"/>
              <a:gd name="connsiteX59" fmla="*/ 4147172 w 9901550"/>
              <a:gd name="connsiteY59" fmla="*/ 5785031 h 5927527"/>
              <a:gd name="connsiteX60" fmla="*/ 4147232 w 9901550"/>
              <a:gd name="connsiteY60" fmla="*/ 5784737 h 5927527"/>
              <a:gd name="connsiteX61" fmla="*/ 4147162 w 9901550"/>
              <a:gd name="connsiteY61" fmla="*/ 5784389 h 5927527"/>
              <a:gd name="connsiteX62" fmla="*/ 4280017 w 9901550"/>
              <a:gd name="connsiteY62" fmla="*/ 5651521 h 5927527"/>
              <a:gd name="connsiteX63" fmla="*/ 2609875 w 9901550"/>
              <a:gd name="connsiteY63" fmla="*/ 5651521 h 5927527"/>
              <a:gd name="connsiteX64" fmla="*/ 2742743 w 9901550"/>
              <a:gd name="connsiteY64" fmla="*/ 5784389 h 5927527"/>
              <a:gd name="connsiteX65" fmla="*/ 2742685 w 9901550"/>
              <a:gd name="connsiteY65" fmla="*/ 5784681 h 5927527"/>
              <a:gd name="connsiteX66" fmla="*/ 2742755 w 9901550"/>
              <a:gd name="connsiteY66" fmla="*/ 5785031 h 5927527"/>
              <a:gd name="connsiteX67" fmla="*/ 2609887 w 9901550"/>
              <a:gd name="connsiteY67" fmla="*/ 5917899 h 5927527"/>
              <a:gd name="connsiteX68" fmla="*/ 2477018 w 9901550"/>
              <a:gd name="connsiteY68" fmla="*/ 5785031 h 5927527"/>
              <a:gd name="connsiteX69" fmla="*/ 2477077 w 9901550"/>
              <a:gd name="connsiteY69" fmla="*/ 5784741 h 5927527"/>
              <a:gd name="connsiteX70" fmla="*/ 2477007 w 9901550"/>
              <a:gd name="connsiteY70" fmla="*/ 5784389 h 5927527"/>
              <a:gd name="connsiteX71" fmla="*/ 2609875 w 9901550"/>
              <a:gd name="connsiteY71" fmla="*/ 5651521 h 5927527"/>
              <a:gd name="connsiteX72" fmla="*/ 3722884 w 9901550"/>
              <a:gd name="connsiteY72" fmla="*/ 5641251 h 5927527"/>
              <a:gd name="connsiteX73" fmla="*/ 3722889 w 9901550"/>
              <a:gd name="connsiteY73" fmla="*/ 5641252 h 5927527"/>
              <a:gd name="connsiteX74" fmla="*/ 3722894 w 9901550"/>
              <a:gd name="connsiteY74" fmla="*/ 5641251 h 5927527"/>
              <a:gd name="connsiteX75" fmla="*/ 3866031 w 9901550"/>
              <a:gd name="connsiteY75" fmla="*/ 5784388 h 5927527"/>
              <a:gd name="connsiteX76" fmla="*/ 3722894 w 9901550"/>
              <a:gd name="connsiteY76" fmla="*/ 5927527 h 5927527"/>
              <a:gd name="connsiteX77" fmla="*/ 3722889 w 9901550"/>
              <a:gd name="connsiteY77" fmla="*/ 5927526 h 5927527"/>
              <a:gd name="connsiteX78" fmla="*/ 3722884 w 9901550"/>
              <a:gd name="connsiteY78" fmla="*/ 5927527 h 5927527"/>
              <a:gd name="connsiteX79" fmla="*/ 3579747 w 9901550"/>
              <a:gd name="connsiteY79" fmla="*/ 5784388 h 5927527"/>
              <a:gd name="connsiteX80" fmla="*/ 3722884 w 9901550"/>
              <a:gd name="connsiteY80" fmla="*/ 5641251 h 5927527"/>
              <a:gd name="connsiteX81" fmla="*/ 3166378 w 9901550"/>
              <a:gd name="connsiteY81" fmla="*/ 5641251 h 5927527"/>
              <a:gd name="connsiteX82" fmla="*/ 3166384 w 9901550"/>
              <a:gd name="connsiteY82" fmla="*/ 5641252 h 5927527"/>
              <a:gd name="connsiteX83" fmla="*/ 3166390 w 9901550"/>
              <a:gd name="connsiteY83" fmla="*/ 5641251 h 5927527"/>
              <a:gd name="connsiteX84" fmla="*/ 3309527 w 9901550"/>
              <a:gd name="connsiteY84" fmla="*/ 5784388 h 5927527"/>
              <a:gd name="connsiteX85" fmla="*/ 3166390 w 9901550"/>
              <a:gd name="connsiteY85" fmla="*/ 5927527 h 5927527"/>
              <a:gd name="connsiteX86" fmla="*/ 3166384 w 9901550"/>
              <a:gd name="connsiteY86" fmla="*/ 5927526 h 5927527"/>
              <a:gd name="connsiteX87" fmla="*/ 3166378 w 9901550"/>
              <a:gd name="connsiteY87" fmla="*/ 5927527 h 5927527"/>
              <a:gd name="connsiteX88" fmla="*/ 3023241 w 9901550"/>
              <a:gd name="connsiteY88" fmla="*/ 5784388 h 5927527"/>
              <a:gd name="connsiteX89" fmla="*/ 3166378 w 9901550"/>
              <a:gd name="connsiteY89" fmla="*/ 5641251 h 5927527"/>
              <a:gd name="connsiteX90" fmla="*/ 7619689 w 9901550"/>
              <a:gd name="connsiteY90" fmla="*/ 5190013 h 5927527"/>
              <a:gd name="connsiteX91" fmla="*/ 7657559 w 9901550"/>
              <a:gd name="connsiteY91" fmla="*/ 5227884 h 5927527"/>
              <a:gd name="connsiteX92" fmla="*/ 7619689 w 9901550"/>
              <a:gd name="connsiteY92" fmla="*/ 5265754 h 5927527"/>
              <a:gd name="connsiteX93" fmla="*/ 7593051 w 9901550"/>
              <a:gd name="connsiteY93" fmla="*/ 5254763 h 5927527"/>
              <a:gd name="connsiteX94" fmla="*/ 7592980 w 9901550"/>
              <a:gd name="connsiteY94" fmla="*/ 5254592 h 5927527"/>
              <a:gd name="connsiteX95" fmla="*/ 7592810 w 9901550"/>
              <a:gd name="connsiteY95" fmla="*/ 5254521 h 5927527"/>
              <a:gd name="connsiteX96" fmla="*/ 7581818 w 9901550"/>
              <a:gd name="connsiteY96" fmla="*/ 5227884 h 5927527"/>
              <a:gd name="connsiteX97" fmla="*/ 7592810 w 9901550"/>
              <a:gd name="connsiteY97" fmla="*/ 5201246 h 5927527"/>
              <a:gd name="connsiteX98" fmla="*/ 7592980 w 9901550"/>
              <a:gd name="connsiteY98" fmla="*/ 5201175 h 5927527"/>
              <a:gd name="connsiteX99" fmla="*/ 7593051 w 9901550"/>
              <a:gd name="connsiteY99" fmla="*/ 5201005 h 5927527"/>
              <a:gd name="connsiteX100" fmla="*/ 7619689 w 9901550"/>
              <a:gd name="connsiteY100" fmla="*/ 5190013 h 5927527"/>
              <a:gd name="connsiteX101" fmla="*/ 7063184 w 9901550"/>
              <a:gd name="connsiteY101" fmla="*/ 5162413 h 5927527"/>
              <a:gd name="connsiteX102" fmla="*/ 7128655 w 9901550"/>
              <a:gd name="connsiteY102" fmla="*/ 5227884 h 5927527"/>
              <a:gd name="connsiteX103" fmla="*/ 7063184 w 9901550"/>
              <a:gd name="connsiteY103" fmla="*/ 5293355 h 5927527"/>
              <a:gd name="connsiteX104" fmla="*/ 6997712 w 9901550"/>
              <a:gd name="connsiteY104" fmla="*/ 5227884 h 5927527"/>
              <a:gd name="connsiteX105" fmla="*/ 7063184 w 9901550"/>
              <a:gd name="connsiteY105" fmla="*/ 5162413 h 5927527"/>
              <a:gd name="connsiteX106" fmla="*/ 6506679 w 9901550"/>
              <a:gd name="connsiteY106" fmla="*/ 5129035 h 5927527"/>
              <a:gd name="connsiteX107" fmla="*/ 6605527 w 9901550"/>
              <a:gd name="connsiteY107" fmla="*/ 5227884 h 5927527"/>
              <a:gd name="connsiteX108" fmla="*/ 6506679 w 9901550"/>
              <a:gd name="connsiteY108" fmla="*/ 5326733 h 5927527"/>
              <a:gd name="connsiteX109" fmla="*/ 6407830 w 9901550"/>
              <a:gd name="connsiteY109" fmla="*/ 5227884 h 5927527"/>
              <a:gd name="connsiteX110" fmla="*/ 6506679 w 9901550"/>
              <a:gd name="connsiteY110" fmla="*/ 5129035 h 5927527"/>
              <a:gd name="connsiteX111" fmla="*/ 383206 w 9901550"/>
              <a:gd name="connsiteY111" fmla="*/ 5129035 h 5927527"/>
              <a:gd name="connsiteX112" fmla="*/ 383212 w 9901550"/>
              <a:gd name="connsiteY112" fmla="*/ 5129036 h 5927527"/>
              <a:gd name="connsiteX113" fmla="*/ 383217 w 9901550"/>
              <a:gd name="connsiteY113" fmla="*/ 5129035 h 5927527"/>
              <a:gd name="connsiteX114" fmla="*/ 482065 w 9901550"/>
              <a:gd name="connsiteY114" fmla="*/ 5227884 h 5927527"/>
              <a:gd name="connsiteX115" fmla="*/ 383217 w 9901550"/>
              <a:gd name="connsiteY115" fmla="*/ 5326732 h 5927527"/>
              <a:gd name="connsiteX116" fmla="*/ 383212 w 9901550"/>
              <a:gd name="connsiteY116" fmla="*/ 5326731 h 5927527"/>
              <a:gd name="connsiteX117" fmla="*/ 383206 w 9901550"/>
              <a:gd name="connsiteY117" fmla="*/ 5326732 h 5927527"/>
              <a:gd name="connsiteX118" fmla="*/ 284357 w 9901550"/>
              <a:gd name="connsiteY118" fmla="*/ 5227884 h 5927527"/>
              <a:gd name="connsiteX119" fmla="*/ 383206 w 9901550"/>
              <a:gd name="connsiteY119" fmla="*/ 5129035 h 5927527"/>
              <a:gd name="connsiteX120" fmla="*/ 5949532 w 9901550"/>
              <a:gd name="connsiteY120" fmla="*/ 5087955 h 5927527"/>
              <a:gd name="connsiteX121" fmla="*/ 6089460 w 9901550"/>
              <a:gd name="connsiteY121" fmla="*/ 5227884 h 5927527"/>
              <a:gd name="connsiteX122" fmla="*/ 5949532 w 9901550"/>
              <a:gd name="connsiteY122" fmla="*/ 5367813 h 5927527"/>
              <a:gd name="connsiteX123" fmla="*/ 5809603 w 9901550"/>
              <a:gd name="connsiteY123" fmla="*/ 5227884 h 5927527"/>
              <a:gd name="connsiteX124" fmla="*/ 5949532 w 9901550"/>
              <a:gd name="connsiteY124" fmla="*/ 5087955 h 5927527"/>
              <a:gd name="connsiteX125" fmla="*/ 939711 w 9901550"/>
              <a:gd name="connsiteY125" fmla="*/ 5087955 h 5927527"/>
              <a:gd name="connsiteX126" fmla="*/ 939716 w 9901550"/>
              <a:gd name="connsiteY126" fmla="*/ 5087956 h 5927527"/>
              <a:gd name="connsiteX127" fmla="*/ 939721 w 9901550"/>
              <a:gd name="connsiteY127" fmla="*/ 5087955 h 5927527"/>
              <a:gd name="connsiteX128" fmla="*/ 941664 w 9901550"/>
              <a:gd name="connsiteY128" fmla="*/ 5088350 h 5927527"/>
              <a:gd name="connsiteX129" fmla="*/ 994340 w 9901550"/>
              <a:gd name="connsiteY129" fmla="*/ 5098987 h 5927527"/>
              <a:gd name="connsiteX130" fmla="*/ 1068697 w 9901550"/>
              <a:gd name="connsiteY130" fmla="*/ 5173525 h 5927527"/>
              <a:gd name="connsiteX131" fmla="*/ 1078245 w 9901550"/>
              <a:gd name="connsiteY131" fmla="*/ 5220960 h 5927527"/>
              <a:gd name="connsiteX132" fmla="*/ 1079650 w 9901550"/>
              <a:gd name="connsiteY132" fmla="*/ 5227884 h 5927527"/>
              <a:gd name="connsiteX133" fmla="*/ 939721 w 9901550"/>
              <a:gd name="connsiteY133" fmla="*/ 5367813 h 5927527"/>
              <a:gd name="connsiteX134" fmla="*/ 939716 w 9901550"/>
              <a:gd name="connsiteY134" fmla="*/ 5367812 h 5927527"/>
              <a:gd name="connsiteX135" fmla="*/ 939711 w 9901550"/>
              <a:gd name="connsiteY135" fmla="*/ 5367813 h 5927527"/>
              <a:gd name="connsiteX136" fmla="*/ 799782 w 9901550"/>
              <a:gd name="connsiteY136" fmla="*/ 5227884 h 5927527"/>
              <a:gd name="connsiteX137" fmla="*/ 939711 w 9901550"/>
              <a:gd name="connsiteY137" fmla="*/ 5087955 h 5927527"/>
              <a:gd name="connsiteX138" fmla="*/ 1496217 w 9901550"/>
              <a:gd name="connsiteY138" fmla="*/ 5053294 h 5927527"/>
              <a:gd name="connsiteX139" fmla="*/ 1496222 w 9901550"/>
              <a:gd name="connsiteY139" fmla="*/ 5053295 h 5927527"/>
              <a:gd name="connsiteX140" fmla="*/ 1496229 w 9901550"/>
              <a:gd name="connsiteY140" fmla="*/ 5053294 h 5927527"/>
              <a:gd name="connsiteX141" fmla="*/ 1499202 w 9901550"/>
              <a:gd name="connsiteY141" fmla="*/ 5053896 h 5927527"/>
              <a:gd name="connsiteX142" fmla="*/ 1564386 w 9901550"/>
              <a:gd name="connsiteY142" fmla="*/ 5067034 h 5927527"/>
              <a:gd name="connsiteX143" fmla="*/ 1657157 w 9901550"/>
              <a:gd name="connsiteY143" fmla="*/ 5159985 h 5927527"/>
              <a:gd name="connsiteX144" fmla="*/ 1668969 w 9901550"/>
              <a:gd name="connsiteY144" fmla="*/ 5218743 h 5927527"/>
              <a:gd name="connsiteX145" fmla="*/ 1670819 w 9901550"/>
              <a:gd name="connsiteY145" fmla="*/ 5227883 h 5927527"/>
              <a:gd name="connsiteX146" fmla="*/ 1496229 w 9901550"/>
              <a:gd name="connsiteY146" fmla="*/ 5402473 h 5927527"/>
              <a:gd name="connsiteX147" fmla="*/ 1496222 w 9901550"/>
              <a:gd name="connsiteY147" fmla="*/ 5402472 h 5927527"/>
              <a:gd name="connsiteX148" fmla="*/ 1496217 w 9901550"/>
              <a:gd name="connsiteY148" fmla="*/ 5402473 h 5927527"/>
              <a:gd name="connsiteX149" fmla="*/ 1321626 w 9901550"/>
              <a:gd name="connsiteY149" fmla="*/ 5227883 h 5927527"/>
              <a:gd name="connsiteX150" fmla="*/ 1496217 w 9901550"/>
              <a:gd name="connsiteY150" fmla="*/ 5053294 h 5927527"/>
              <a:gd name="connsiteX151" fmla="*/ 5393028 w 9901550"/>
              <a:gd name="connsiteY151" fmla="*/ 5050727 h 5927527"/>
              <a:gd name="connsiteX152" fmla="*/ 5570186 w 9901550"/>
              <a:gd name="connsiteY152" fmla="*/ 5227884 h 5927527"/>
              <a:gd name="connsiteX153" fmla="*/ 5393028 w 9901550"/>
              <a:gd name="connsiteY153" fmla="*/ 5405041 h 5927527"/>
              <a:gd name="connsiteX154" fmla="*/ 5324187 w 9901550"/>
              <a:gd name="connsiteY154" fmla="*/ 5391171 h 5927527"/>
              <a:gd name="connsiteX155" fmla="*/ 5324111 w 9901550"/>
              <a:gd name="connsiteY155" fmla="*/ 5391120 h 5927527"/>
              <a:gd name="connsiteX156" fmla="*/ 5323916 w 9901550"/>
              <a:gd name="connsiteY156" fmla="*/ 5391081 h 5927527"/>
              <a:gd name="connsiteX157" fmla="*/ 5293618 w 9901550"/>
              <a:gd name="connsiteY157" fmla="*/ 5370612 h 5927527"/>
              <a:gd name="connsiteX158" fmla="*/ 5267862 w 9901550"/>
              <a:gd name="connsiteY158" fmla="*/ 5353290 h 5927527"/>
              <a:gd name="connsiteX159" fmla="*/ 5267765 w 9901550"/>
              <a:gd name="connsiteY159" fmla="*/ 5353147 h 5927527"/>
              <a:gd name="connsiteX160" fmla="*/ 5267621 w 9901550"/>
              <a:gd name="connsiteY160" fmla="*/ 5353050 h 5927527"/>
              <a:gd name="connsiteX161" fmla="*/ 5250298 w 9901550"/>
              <a:gd name="connsiteY161" fmla="*/ 5327292 h 5927527"/>
              <a:gd name="connsiteX162" fmla="*/ 5229831 w 9901550"/>
              <a:gd name="connsiteY162" fmla="*/ 5296996 h 5927527"/>
              <a:gd name="connsiteX163" fmla="*/ 5229791 w 9901550"/>
              <a:gd name="connsiteY163" fmla="*/ 5296801 h 5927527"/>
              <a:gd name="connsiteX164" fmla="*/ 5229740 w 9901550"/>
              <a:gd name="connsiteY164" fmla="*/ 5296725 h 5927527"/>
              <a:gd name="connsiteX165" fmla="*/ 5215870 w 9901550"/>
              <a:gd name="connsiteY165" fmla="*/ 5227884 h 5927527"/>
              <a:gd name="connsiteX166" fmla="*/ 5229740 w 9901550"/>
              <a:gd name="connsiteY166" fmla="*/ 5159044 h 5927527"/>
              <a:gd name="connsiteX167" fmla="*/ 5229791 w 9901550"/>
              <a:gd name="connsiteY167" fmla="*/ 5158968 h 5927527"/>
              <a:gd name="connsiteX168" fmla="*/ 5229831 w 9901550"/>
              <a:gd name="connsiteY168" fmla="*/ 5158772 h 5927527"/>
              <a:gd name="connsiteX169" fmla="*/ 5250355 w 9901550"/>
              <a:gd name="connsiteY169" fmla="*/ 5128394 h 5927527"/>
              <a:gd name="connsiteX170" fmla="*/ 5267621 w 9901550"/>
              <a:gd name="connsiteY170" fmla="*/ 5102719 h 5927527"/>
              <a:gd name="connsiteX171" fmla="*/ 5267764 w 9901550"/>
              <a:gd name="connsiteY171" fmla="*/ 5102622 h 5927527"/>
              <a:gd name="connsiteX172" fmla="*/ 5267862 w 9901550"/>
              <a:gd name="connsiteY172" fmla="*/ 5102478 h 5927527"/>
              <a:gd name="connsiteX173" fmla="*/ 5293704 w 9901550"/>
              <a:gd name="connsiteY173" fmla="*/ 5085099 h 5927527"/>
              <a:gd name="connsiteX174" fmla="*/ 5323916 w 9901550"/>
              <a:gd name="connsiteY174" fmla="*/ 5064688 h 5927527"/>
              <a:gd name="connsiteX175" fmla="*/ 5324111 w 9901550"/>
              <a:gd name="connsiteY175" fmla="*/ 5064649 h 5927527"/>
              <a:gd name="connsiteX176" fmla="*/ 5324187 w 9901550"/>
              <a:gd name="connsiteY176" fmla="*/ 5064598 h 5927527"/>
              <a:gd name="connsiteX177" fmla="*/ 5393028 w 9901550"/>
              <a:gd name="connsiteY177" fmla="*/ 5050727 h 5927527"/>
              <a:gd name="connsiteX178" fmla="*/ 2053365 w 9901550"/>
              <a:gd name="connsiteY178" fmla="*/ 5023126 h 5927527"/>
              <a:gd name="connsiteX179" fmla="*/ 2053370 w 9901550"/>
              <a:gd name="connsiteY179" fmla="*/ 5023127 h 5927527"/>
              <a:gd name="connsiteX180" fmla="*/ 2053377 w 9901550"/>
              <a:gd name="connsiteY180" fmla="*/ 5023126 h 5927527"/>
              <a:gd name="connsiteX181" fmla="*/ 2258139 w 9901550"/>
              <a:gd name="connsiteY181" fmla="*/ 5227884 h 5927527"/>
              <a:gd name="connsiteX182" fmla="*/ 2053377 w 9901550"/>
              <a:gd name="connsiteY182" fmla="*/ 5432642 h 5927527"/>
              <a:gd name="connsiteX183" fmla="*/ 2053370 w 9901550"/>
              <a:gd name="connsiteY183" fmla="*/ 5432642 h 5927527"/>
              <a:gd name="connsiteX184" fmla="*/ 2053365 w 9901550"/>
              <a:gd name="connsiteY184" fmla="*/ 5432642 h 5927527"/>
              <a:gd name="connsiteX185" fmla="*/ 1848606 w 9901550"/>
              <a:gd name="connsiteY185" fmla="*/ 5227884 h 5927527"/>
              <a:gd name="connsiteX186" fmla="*/ 2053365 w 9901550"/>
              <a:gd name="connsiteY186" fmla="*/ 5023126 h 5927527"/>
              <a:gd name="connsiteX187" fmla="*/ 4836522 w 9901550"/>
              <a:gd name="connsiteY187" fmla="*/ 5020558 h 5927527"/>
              <a:gd name="connsiteX188" fmla="*/ 5043848 w 9901550"/>
              <a:gd name="connsiteY188" fmla="*/ 5227884 h 5927527"/>
              <a:gd name="connsiteX189" fmla="*/ 4836522 w 9901550"/>
              <a:gd name="connsiteY189" fmla="*/ 5435209 h 5927527"/>
              <a:gd name="connsiteX190" fmla="*/ 4629197 w 9901550"/>
              <a:gd name="connsiteY190" fmla="*/ 5227884 h 5927527"/>
              <a:gd name="connsiteX191" fmla="*/ 4836522 w 9901550"/>
              <a:gd name="connsiteY191" fmla="*/ 5020558 h 5927527"/>
              <a:gd name="connsiteX192" fmla="*/ 4280017 w 9901550"/>
              <a:gd name="connsiteY192" fmla="*/ 4998735 h 5927527"/>
              <a:gd name="connsiteX193" fmla="*/ 4509167 w 9901550"/>
              <a:gd name="connsiteY193" fmla="*/ 5227884 h 5927527"/>
              <a:gd name="connsiteX194" fmla="*/ 4280017 w 9901550"/>
              <a:gd name="connsiteY194" fmla="*/ 5457033 h 5927527"/>
              <a:gd name="connsiteX195" fmla="*/ 4050878 w 9901550"/>
              <a:gd name="connsiteY195" fmla="*/ 5227884 h 5927527"/>
              <a:gd name="connsiteX196" fmla="*/ 4280017 w 9901550"/>
              <a:gd name="connsiteY196" fmla="*/ 4998735 h 5927527"/>
              <a:gd name="connsiteX197" fmla="*/ 2609873 w 9901550"/>
              <a:gd name="connsiteY197" fmla="*/ 4998735 h 5927527"/>
              <a:gd name="connsiteX198" fmla="*/ 2609880 w 9901550"/>
              <a:gd name="connsiteY198" fmla="*/ 4998736 h 5927527"/>
              <a:gd name="connsiteX199" fmla="*/ 2609887 w 9901550"/>
              <a:gd name="connsiteY199" fmla="*/ 4998735 h 5927527"/>
              <a:gd name="connsiteX200" fmla="*/ 2839035 w 9901550"/>
              <a:gd name="connsiteY200" fmla="*/ 5227884 h 5927527"/>
              <a:gd name="connsiteX201" fmla="*/ 2609887 w 9901550"/>
              <a:gd name="connsiteY201" fmla="*/ 5457033 h 5927527"/>
              <a:gd name="connsiteX202" fmla="*/ 2609880 w 9901550"/>
              <a:gd name="connsiteY202" fmla="*/ 5457033 h 5927527"/>
              <a:gd name="connsiteX203" fmla="*/ 2609873 w 9901550"/>
              <a:gd name="connsiteY203" fmla="*/ 5457033 h 5927527"/>
              <a:gd name="connsiteX204" fmla="*/ 2380723 w 9901550"/>
              <a:gd name="connsiteY204" fmla="*/ 5227884 h 5927527"/>
              <a:gd name="connsiteX205" fmla="*/ 2609873 w 9901550"/>
              <a:gd name="connsiteY205" fmla="*/ 4998735 h 5927527"/>
              <a:gd name="connsiteX206" fmla="*/ 8176195 w 9901550"/>
              <a:gd name="connsiteY206" fmla="*/ 4631582 h 5927527"/>
              <a:gd name="connsiteX207" fmla="*/ 8215991 w 9901550"/>
              <a:gd name="connsiteY207" fmla="*/ 4671379 h 5927527"/>
              <a:gd name="connsiteX208" fmla="*/ 8176195 w 9901550"/>
              <a:gd name="connsiteY208" fmla="*/ 4711175 h 5927527"/>
              <a:gd name="connsiteX209" fmla="*/ 8136398 w 9901550"/>
              <a:gd name="connsiteY209" fmla="*/ 4671379 h 5927527"/>
              <a:gd name="connsiteX210" fmla="*/ 8176195 w 9901550"/>
              <a:gd name="connsiteY210" fmla="*/ 4631582 h 5927527"/>
              <a:gd name="connsiteX211" fmla="*/ 7619689 w 9901550"/>
              <a:gd name="connsiteY211" fmla="*/ 4597563 h 5927527"/>
              <a:gd name="connsiteX212" fmla="*/ 7693504 w 9901550"/>
              <a:gd name="connsiteY212" fmla="*/ 4671379 h 5927527"/>
              <a:gd name="connsiteX213" fmla="*/ 7687747 w 9901550"/>
              <a:gd name="connsiteY213" fmla="*/ 4699973 h 5927527"/>
              <a:gd name="connsiteX214" fmla="*/ 7687696 w 9901550"/>
              <a:gd name="connsiteY214" fmla="*/ 4700048 h 5927527"/>
              <a:gd name="connsiteX215" fmla="*/ 7687657 w 9901550"/>
              <a:gd name="connsiteY215" fmla="*/ 4700243 h 5927527"/>
              <a:gd name="connsiteX216" fmla="*/ 7679174 w 9901550"/>
              <a:gd name="connsiteY216" fmla="*/ 4712756 h 5927527"/>
              <a:gd name="connsiteX217" fmla="*/ 7672001 w 9901550"/>
              <a:gd name="connsiteY217" fmla="*/ 4723451 h 5927527"/>
              <a:gd name="connsiteX218" fmla="*/ 7671857 w 9901550"/>
              <a:gd name="connsiteY218" fmla="*/ 4723549 h 5927527"/>
              <a:gd name="connsiteX219" fmla="*/ 7671760 w 9901550"/>
              <a:gd name="connsiteY219" fmla="*/ 4723691 h 5927527"/>
              <a:gd name="connsiteX220" fmla="*/ 7661143 w 9901550"/>
              <a:gd name="connsiteY220" fmla="*/ 4730812 h 5927527"/>
              <a:gd name="connsiteX221" fmla="*/ 7648553 w 9901550"/>
              <a:gd name="connsiteY221" fmla="*/ 4739347 h 5927527"/>
              <a:gd name="connsiteX222" fmla="*/ 7648358 w 9901550"/>
              <a:gd name="connsiteY222" fmla="*/ 4739387 h 5927527"/>
              <a:gd name="connsiteX223" fmla="*/ 7648282 w 9901550"/>
              <a:gd name="connsiteY223" fmla="*/ 4739437 h 5927527"/>
              <a:gd name="connsiteX224" fmla="*/ 7619689 w 9901550"/>
              <a:gd name="connsiteY224" fmla="*/ 4745194 h 5927527"/>
              <a:gd name="connsiteX225" fmla="*/ 7591095 w 9901550"/>
              <a:gd name="connsiteY225" fmla="*/ 4739437 h 5927527"/>
              <a:gd name="connsiteX226" fmla="*/ 7591020 w 9901550"/>
              <a:gd name="connsiteY226" fmla="*/ 4739387 h 5927527"/>
              <a:gd name="connsiteX227" fmla="*/ 7590824 w 9901550"/>
              <a:gd name="connsiteY227" fmla="*/ 4739347 h 5927527"/>
              <a:gd name="connsiteX228" fmla="*/ 7578202 w 9901550"/>
              <a:gd name="connsiteY228" fmla="*/ 4730790 h 5927527"/>
              <a:gd name="connsiteX229" fmla="*/ 7567616 w 9901550"/>
              <a:gd name="connsiteY229" fmla="*/ 4723691 h 5927527"/>
              <a:gd name="connsiteX230" fmla="*/ 7567520 w 9901550"/>
              <a:gd name="connsiteY230" fmla="*/ 4723549 h 5927527"/>
              <a:gd name="connsiteX231" fmla="*/ 7567375 w 9901550"/>
              <a:gd name="connsiteY231" fmla="*/ 4723451 h 5927527"/>
              <a:gd name="connsiteX232" fmla="*/ 7560183 w 9901550"/>
              <a:gd name="connsiteY232" fmla="*/ 4712726 h 5927527"/>
              <a:gd name="connsiteX233" fmla="*/ 7551720 w 9901550"/>
              <a:gd name="connsiteY233" fmla="*/ 4700243 h 5927527"/>
              <a:gd name="connsiteX234" fmla="*/ 7551681 w 9901550"/>
              <a:gd name="connsiteY234" fmla="*/ 4700049 h 5927527"/>
              <a:gd name="connsiteX235" fmla="*/ 7551629 w 9901550"/>
              <a:gd name="connsiteY235" fmla="*/ 4699973 h 5927527"/>
              <a:gd name="connsiteX236" fmla="*/ 7545873 w 9901550"/>
              <a:gd name="connsiteY236" fmla="*/ 4671379 h 5927527"/>
              <a:gd name="connsiteX237" fmla="*/ 7551629 w 9901550"/>
              <a:gd name="connsiteY237" fmla="*/ 4642786 h 5927527"/>
              <a:gd name="connsiteX238" fmla="*/ 7551680 w 9901550"/>
              <a:gd name="connsiteY238" fmla="*/ 4642710 h 5927527"/>
              <a:gd name="connsiteX239" fmla="*/ 7551720 w 9901550"/>
              <a:gd name="connsiteY239" fmla="*/ 4642515 h 5927527"/>
              <a:gd name="connsiteX240" fmla="*/ 7560209 w 9901550"/>
              <a:gd name="connsiteY240" fmla="*/ 4629993 h 5927527"/>
              <a:gd name="connsiteX241" fmla="*/ 7567375 w 9901550"/>
              <a:gd name="connsiteY241" fmla="*/ 4619307 h 5927527"/>
              <a:gd name="connsiteX242" fmla="*/ 7567520 w 9901550"/>
              <a:gd name="connsiteY242" fmla="*/ 4619209 h 5927527"/>
              <a:gd name="connsiteX243" fmla="*/ 7567616 w 9901550"/>
              <a:gd name="connsiteY243" fmla="*/ 4619066 h 5927527"/>
              <a:gd name="connsiteX244" fmla="*/ 7578237 w 9901550"/>
              <a:gd name="connsiteY244" fmla="*/ 4611944 h 5927527"/>
              <a:gd name="connsiteX245" fmla="*/ 7590824 w 9901550"/>
              <a:gd name="connsiteY245" fmla="*/ 4603410 h 5927527"/>
              <a:gd name="connsiteX246" fmla="*/ 7591020 w 9901550"/>
              <a:gd name="connsiteY246" fmla="*/ 4603371 h 5927527"/>
              <a:gd name="connsiteX247" fmla="*/ 7591095 w 9901550"/>
              <a:gd name="connsiteY247" fmla="*/ 4603320 h 5927527"/>
              <a:gd name="connsiteX248" fmla="*/ 7619689 w 9901550"/>
              <a:gd name="connsiteY248" fmla="*/ 4597563 h 5927527"/>
              <a:gd name="connsiteX249" fmla="*/ 7063184 w 9901550"/>
              <a:gd name="connsiteY249" fmla="*/ 4549423 h 5927527"/>
              <a:gd name="connsiteX250" fmla="*/ 7185140 w 9901550"/>
              <a:gd name="connsiteY250" fmla="*/ 4671380 h 5927527"/>
              <a:gd name="connsiteX251" fmla="*/ 7063184 w 9901550"/>
              <a:gd name="connsiteY251" fmla="*/ 4793336 h 5927527"/>
              <a:gd name="connsiteX252" fmla="*/ 6941228 w 9901550"/>
              <a:gd name="connsiteY252" fmla="*/ 4671380 h 5927527"/>
              <a:gd name="connsiteX253" fmla="*/ 7063184 w 9901550"/>
              <a:gd name="connsiteY253" fmla="*/ 4549423 h 5927527"/>
              <a:gd name="connsiteX254" fmla="*/ 6506679 w 9901550"/>
              <a:gd name="connsiteY254" fmla="*/ 4496789 h 5927527"/>
              <a:gd name="connsiteX255" fmla="*/ 6679985 w 9901550"/>
              <a:gd name="connsiteY255" fmla="*/ 4670737 h 5927527"/>
              <a:gd name="connsiteX256" fmla="*/ 6679920 w 9901550"/>
              <a:gd name="connsiteY256" fmla="*/ 4671058 h 5927527"/>
              <a:gd name="connsiteX257" fmla="*/ 6679985 w 9901550"/>
              <a:gd name="connsiteY257" fmla="*/ 4671379 h 5927527"/>
              <a:gd name="connsiteX258" fmla="*/ 6506679 w 9901550"/>
              <a:gd name="connsiteY258" fmla="*/ 4845327 h 5927527"/>
              <a:gd name="connsiteX259" fmla="*/ 6332731 w 9901550"/>
              <a:gd name="connsiteY259" fmla="*/ 4671379 h 5927527"/>
              <a:gd name="connsiteX260" fmla="*/ 6332796 w 9901550"/>
              <a:gd name="connsiteY260" fmla="*/ 4671058 h 5927527"/>
              <a:gd name="connsiteX261" fmla="*/ 6332731 w 9901550"/>
              <a:gd name="connsiteY261" fmla="*/ 4670737 h 5927527"/>
              <a:gd name="connsiteX262" fmla="*/ 6506679 w 9901550"/>
              <a:gd name="connsiteY262" fmla="*/ 4496789 h 5927527"/>
              <a:gd name="connsiteX263" fmla="*/ 383217 w 9901550"/>
              <a:gd name="connsiteY263" fmla="*/ 4496789 h 5927527"/>
              <a:gd name="connsiteX264" fmla="*/ 557164 w 9901550"/>
              <a:gd name="connsiteY264" fmla="*/ 4670737 h 5927527"/>
              <a:gd name="connsiteX265" fmla="*/ 557093 w 9901550"/>
              <a:gd name="connsiteY265" fmla="*/ 4671084 h 5927527"/>
              <a:gd name="connsiteX266" fmla="*/ 557154 w 9901550"/>
              <a:gd name="connsiteY266" fmla="*/ 4671379 h 5927527"/>
              <a:gd name="connsiteX267" fmla="*/ 383206 w 9901550"/>
              <a:gd name="connsiteY267" fmla="*/ 4845327 h 5927527"/>
              <a:gd name="connsiteX268" fmla="*/ 209258 w 9901550"/>
              <a:gd name="connsiteY268" fmla="*/ 4671379 h 5927527"/>
              <a:gd name="connsiteX269" fmla="*/ 209328 w 9901550"/>
              <a:gd name="connsiteY269" fmla="*/ 4671031 h 5927527"/>
              <a:gd name="connsiteX270" fmla="*/ 209269 w 9901550"/>
              <a:gd name="connsiteY270" fmla="*/ 4670737 h 5927527"/>
              <a:gd name="connsiteX271" fmla="*/ 383217 w 9901550"/>
              <a:gd name="connsiteY271" fmla="*/ 4496789 h 5927527"/>
              <a:gd name="connsiteX272" fmla="*/ 5958673 w 9901550"/>
              <a:gd name="connsiteY272" fmla="*/ 4447478 h 5927527"/>
              <a:gd name="connsiteX273" fmla="*/ 6001379 w 9901550"/>
              <a:gd name="connsiteY273" fmla="*/ 4453336 h 5927527"/>
              <a:gd name="connsiteX274" fmla="*/ 6007264 w 9901550"/>
              <a:gd name="connsiteY274" fmla="*/ 4455334 h 5927527"/>
              <a:gd name="connsiteX275" fmla="*/ 6011809 w 9901550"/>
              <a:gd name="connsiteY275" fmla="*/ 4456069 h 5927527"/>
              <a:gd name="connsiteX276" fmla="*/ 6021623 w 9901550"/>
              <a:gd name="connsiteY276" fmla="*/ 4460212 h 5927527"/>
              <a:gd name="connsiteX277" fmla="*/ 6042195 w 9901550"/>
              <a:gd name="connsiteY277" fmla="*/ 4467199 h 5927527"/>
              <a:gd name="connsiteX278" fmla="*/ 6053473 w 9901550"/>
              <a:gd name="connsiteY278" fmla="*/ 4473656 h 5927527"/>
              <a:gd name="connsiteX279" fmla="*/ 6061505 w 9901550"/>
              <a:gd name="connsiteY279" fmla="*/ 4477047 h 5927527"/>
              <a:gd name="connsiteX280" fmla="*/ 6068378 w 9901550"/>
              <a:gd name="connsiteY280" fmla="*/ 4482190 h 5927527"/>
              <a:gd name="connsiteX281" fmla="*/ 6079877 w 9901550"/>
              <a:gd name="connsiteY281" fmla="*/ 4488774 h 5927527"/>
              <a:gd name="connsiteX282" fmla="*/ 6086208 w 9901550"/>
              <a:gd name="connsiteY282" fmla="*/ 4495533 h 5927527"/>
              <a:gd name="connsiteX283" fmla="*/ 6105334 w 9901550"/>
              <a:gd name="connsiteY283" fmla="*/ 4509845 h 5927527"/>
              <a:gd name="connsiteX284" fmla="*/ 6140831 w 9901550"/>
              <a:gd name="connsiteY284" fmla="*/ 4553846 h 5927527"/>
              <a:gd name="connsiteX285" fmla="*/ 6140866 w 9901550"/>
              <a:gd name="connsiteY285" fmla="*/ 4553883 h 5927527"/>
              <a:gd name="connsiteX286" fmla="*/ 6171818 w 9901550"/>
              <a:gd name="connsiteY286" fmla="*/ 4637555 h 5927527"/>
              <a:gd name="connsiteX287" fmla="*/ 6171818 w 9901550"/>
              <a:gd name="connsiteY287" fmla="*/ 4637560 h 5927527"/>
              <a:gd name="connsiteX288" fmla="*/ 6171818 w 9901550"/>
              <a:gd name="connsiteY288" fmla="*/ 4637561 h 5927527"/>
              <a:gd name="connsiteX289" fmla="*/ 6067853 w 9901550"/>
              <a:gd name="connsiteY289" fmla="*/ 4863106 h 5927527"/>
              <a:gd name="connsiteX290" fmla="*/ 5758636 w 9901550"/>
              <a:gd name="connsiteY290" fmla="*/ 4790093 h 5927527"/>
              <a:gd name="connsiteX291" fmla="*/ 5727684 w 9901550"/>
              <a:gd name="connsiteY291" fmla="*/ 4706421 h 5927527"/>
              <a:gd name="connsiteX292" fmla="*/ 5727684 w 9901550"/>
              <a:gd name="connsiteY292" fmla="*/ 4706416 h 5927527"/>
              <a:gd name="connsiteX293" fmla="*/ 5727684 w 9901550"/>
              <a:gd name="connsiteY293" fmla="*/ 4706415 h 5927527"/>
              <a:gd name="connsiteX294" fmla="*/ 5831650 w 9901550"/>
              <a:gd name="connsiteY294" fmla="*/ 4480870 h 5927527"/>
              <a:gd name="connsiteX295" fmla="*/ 5872565 w 9901550"/>
              <a:gd name="connsiteY295" fmla="*/ 4460951 h 5927527"/>
              <a:gd name="connsiteX296" fmla="*/ 5887123 w 9901550"/>
              <a:gd name="connsiteY296" fmla="*/ 4457194 h 5927527"/>
              <a:gd name="connsiteX297" fmla="*/ 5893791 w 9901550"/>
              <a:gd name="connsiteY297" fmla="*/ 4454348 h 5927527"/>
              <a:gd name="connsiteX298" fmla="*/ 5901185 w 9901550"/>
              <a:gd name="connsiteY298" fmla="*/ 4453566 h 5927527"/>
              <a:gd name="connsiteX299" fmla="*/ 5915321 w 9901550"/>
              <a:gd name="connsiteY299" fmla="*/ 4449918 h 5927527"/>
              <a:gd name="connsiteX300" fmla="*/ 5958673 w 9901550"/>
              <a:gd name="connsiteY300" fmla="*/ 4447478 h 5927527"/>
              <a:gd name="connsiteX301" fmla="*/ 939710 w 9901550"/>
              <a:gd name="connsiteY301" fmla="*/ 4446723 h 5927527"/>
              <a:gd name="connsiteX302" fmla="*/ 939715 w 9901550"/>
              <a:gd name="connsiteY302" fmla="*/ 4446724 h 5927527"/>
              <a:gd name="connsiteX303" fmla="*/ 939720 w 9901550"/>
              <a:gd name="connsiteY303" fmla="*/ 4446723 h 5927527"/>
              <a:gd name="connsiteX304" fmla="*/ 1164377 w 9901550"/>
              <a:gd name="connsiteY304" fmla="*/ 4671379 h 5927527"/>
              <a:gd name="connsiteX305" fmla="*/ 939720 w 9901550"/>
              <a:gd name="connsiteY305" fmla="*/ 4896035 h 5927527"/>
              <a:gd name="connsiteX306" fmla="*/ 939715 w 9901550"/>
              <a:gd name="connsiteY306" fmla="*/ 4896035 h 5927527"/>
              <a:gd name="connsiteX307" fmla="*/ 939710 w 9901550"/>
              <a:gd name="connsiteY307" fmla="*/ 4896035 h 5927527"/>
              <a:gd name="connsiteX308" fmla="*/ 715054 w 9901550"/>
              <a:gd name="connsiteY308" fmla="*/ 4671379 h 5927527"/>
              <a:gd name="connsiteX309" fmla="*/ 939710 w 9901550"/>
              <a:gd name="connsiteY309" fmla="*/ 4446723 h 5927527"/>
              <a:gd name="connsiteX310" fmla="*/ 8733341 w 9901550"/>
              <a:gd name="connsiteY310" fmla="*/ 4078287 h 5927527"/>
              <a:gd name="connsiteX311" fmla="*/ 8769286 w 9901550"/>
              <a:gd name="connsiteY311" fmla="*/ 4114232 h 5927527"/>
              <a:gd name="connsiteX312" fmla="*/ 8769147 w 9901550"/>
              <a:gd name="connsiteY312" fmla="*/ 4114553 h 5927527"/>
              <a:gd name="connsiteX313" fmla="*/ 8769286 w 9901550"/>
              <a:gd name="connsiteY313" fmla="*/ 4114874 h 5927527"/>
              <a:gd name="connsiteX314" fmla="*/ 8733341 w 9901550"/>
              <a:gd name="connsiteY314" fmla="*/ 4150819 h 5927527"/>
              <a:gd name="connsiteX315" fmla="*/ 8697396 w 9901550"/>
              <a:gd name="connsiteY315" fmla="*/ 4114874 h 5927527"/>
              <a:gd name="connsiteX316" fmla="*/ 8697529 w 9901550"/>
              <a:gd name="connsiteY316" fmla="*/ 4114553 h 5927527"/>
              <a:gd name="connsiteX317" fmla="*/ 8697396 w 9901550"/>
              <a:gd name="connsiteY317" fmla="*/ 4114232 h 5927527"/>
              <a:gd name="connsiteX318" fmla="*/ 8733341 w 9901550"/>
              <a:gd name="connsiteY318" fmla="*/ 4078287 h 5927527"/>
              <a:gd name="connsiteX319" fmla="*/ 8176194 w 9901550"/>
              <a:gd name="connsiteY319" fmla="*/ 4041058 h 5927527"/>
              <a:gd name="connsiteX320" fmla="*/ 8249367 w 9901550"/>
              <a:gd name="connsiteY320" fmla="*/ 4114232 h 5927527"/>
              <a:gd name="connsiteX321" fmla="*/ 8249302 w 9901550"/>
              <a:gd name="connsiteY321" fmla="*/ 4114553 h 5927527"/>
              <a:gd name="connsiteX322" fmla="*/ 8249367 w 9901550"/>
              <a:gd name="connsiteY322" fmla="*/ 4114873 h 5927527"/>
              <a:gd name="connsiteX323" fmla="*/ 8176194 w 9901550"/>
              <a:gd name="connsiteY323" fmla="*/ 4188047 h 5927527"/>
              <a:gd name="connsiteX324" fmla="*/ 8103020 w 9901550"/>
              <a:gd name="connsiteY324" fmla="*/ 4114873 h 5927527"/>
              <a:gd name="connsiteX325" fmla="*/ 8103084 w 9901550"/>
              <a:gd name="connsiteY325" fmla="*/ 4114553 h 5927527"/>
              <a:gd name="connsiteX326" fmla="*/ 8103020 w 9901550"/>
              <a:gd name="connsiteY326" fmla="*/ 4114232 h 5927527"/>
              <a:gd name="connsiteX327" fmla="*/ 8176194 w 9901550"/>
              <a:gd name="connsiteY327" fmla="*/ 4041058 h 5927527"/>
              <a:gd name="connsiteX328" fmla="*/ 0 w 9901550"/>
              <a:gd name="connsiteY328" fmla="*/ 4030788 h 5927527"/>
              <a:gd name="connsiteX329" fmla="*/ 19256 w 9901550"/>
              <a:gd name="connsiteY329" fmla="*/ 4114232 h 5927527"/>
              <a:gd name="connsiteX330" fmla="*/ 0 w 9901550"/>
              <a:gd name="connsiteY330" fmla="*/ 4197675 h 5927527"/>
              <a:gd name="connsiteX331" fmla="*/ 7619392 w 9901550"/>
              <a:gd name="connsiteY331" fmla="*/ 3987950 h 5927527"/>
              <a:gd name="connsiteX332" fmla="*/ 7708804 w 9901550"/>
              <a:gd name="connsiteY332" fmla="*/ 4024986 h 5927527"/>
              <a:gd name="connsiteX333" fmla="*/ 7708805 w 9901550"/>
              <a:gd name="connsiteY333" fmla="*/ 4203810 h 5927527"/>
              <a:gd name="connsiteX334" fmla="*/ 7529980 w 9901550"/>
              <a:gd name="connsiteY334" fmla="*/ 4203810 h 5927527"/>
              <a:gd name="connsiteX335" fmla="*/ 7529980 w 9901550"/>
              <a:gd name="connsiteY335" fmla="*/ 4024985 h 5927527"/>
              <a:gd name="connsiteX336" fmla="*/ 7571810 w 9901550"/>
              <a:gd name="connsiteY336" fmla="*/ 3997209 h 5927527"/>
              <a:gd name="connsiteX337" fmla="*/ 7619392 w 9901550"/>
              <a:gd name="connsiteY337" fmla="*/ 3987950 h 5927527"/>
              <a:gd name="connsiteX338" fmla="*/ 7063185 w 9901550"/>
              <a:gd name="connsiteY338" fmla="*/ 3924237 h 5927527"/>
              <a:gd name="connsiteX339" fmla="*/ 7253179 w 9901550"/>
              <a:gd name="connsiteY339" fmla="*/ 4114232 h 5927527"/>
              <a:gd name="connsiteX340" fmla="*/ 7253114 w 9901550"/>
              <a:gd name="connsiteY340" fmla="*/ 4114553 h 5927527"/>
              <a:gd name="connsiteX341" fmla="*/ 7253179 w 9901550"/>
              <a:gd name="connsiteY341" fmla="*/ 4114874 h 5927527"/>
              <a:gd name="connsiteX342" fmla="*/ 7063185 w 9901550"/>
              <a:gd name="connsiteY342" fmla="*/ 4304869 h 5927527"/>
              <a:gd name="connsiteX343" fmla="*/ 6873190 w 9901550"/>
              <a:gd name="connsiteY343" fmla="*/ 4114874 h 5927527"/>
              <a:gd name="connsiteX344" fmla="*/ 6873255 w 9901550"/>
              <a:gd name="connsiteY344" fmla="*/ 4114553 h 5927527"/>
              <a:gd name="connsiteX345" fmla="*/ 6873190 w 9901550"/>
              <a:gd name="connsiteY345" fmla="*/ 4114232 h 5927527"/>
              <a:gd name="connsiteX346" fmla="*/ 7063185 w 9901550"/>
              <a:gd name="connsiteY346" fmla="*/ 3924237 h 5927527"/>
              <a:gd name="connsiteX347" fmla="*/ 8733341 w 9901550"/>
              <a:gd name="connsiteY347" fmla="*/ 3496749 h 5927527"/>
              <a:gd name="connsiteX348" fmla="*/ 8794319 w 9901550"/>
              <a:gd name="connsiteY348" fmla="*/ 3557727 h 5927527"/>
              <a:gd name="connsiteX349" fmla="*/ 8794250 w 9901550"/>
              <a:gd name="connsiteY349" fmla="*/ 3558046 h 5927527"/>
              <a:gd name="connsiteX350" fmla="*/ 8794319 w 9901550"/>
              <a:gd name="connsiteY350" fmla="*/ 3558369 h 5927527"/>
              <a:gd name="connsiteX351" fmla="*/ 8733341 w 9901550"/>
              <a:gd name="connsiteY351" fmla="*/ 3619347 h 5927527"/>
              <a:gd name="connsiteX352" fmla="*/ 8672363 w 9901550"/>
              <a:gd name="connsiteY352" fmla="*/ 3558369 h 5927527"/>
              <a:gd name="connsiteX353" fmla="*/ 8672428 w 9901550"/>
              <a:gd name="connsiteY353" fmla="*/ 3558048 h 5927527"/>
              <a:gd name="connsiteX354" fmla="*/ 8672363 w 9901550"/>
              <a:gd name="connsiteY354" fmla="*/ 3557727 h 5927527"/>
              <a:gd name="connsiteX355" fmla="*/ 8733341 w 9901550"/>
              <a:gd name="connsiteY355" fmla="*/ 3496749 h 5927527"/>
              <a:gd name="connsiteX356" fmla="*/ 8176194 w 9901550"/>
              <a:gd name="connsiteY356" fmla="*/ 3440264 h 5927527"/>
              <a:gd name="connsiteX357" fmla="*/ 8293657 w 9901550"/>
              <a:gd name="connsiteY357" fmla="*/ 3557727 h 5927527"/>
              <a:gd name="connsiteX358" fmla="*/ 8176194 w 9901550"/>
              <a:gd name="connsiteY358" fmla="*/ 3675190 h 5927527"/>
              <a:gd name="connsiteX359" fmla="*/ 8058731 w 9901550"/>
              <a:gd name="connsiteY359" fmla="*/ 3557727 h 5927527"/>
              <a:gd name="connsiteX360" fmla="*/ 8176194 w 9901550"/>
              <a:gd name="connsiteY360" fmla="*/ 3440264 h 5927527"/>
              <a:gd name="connsiteX361" fmla="*/ 7619689 w 9901550"/>
              <a:gd name="connsiteY361" fmla="*/ 3372225 h 5927527"/>
              <a:gd name="connsiteX362" fmla="*/ 7805191 w 9901550"/>
              <a:gd name="connsiteY362" fmla="*/ 3557726 h 5927527"/>
              <a:gd name="connsiteX363" fmla="*/ 7619689 w 9901550"/>
              <a:gd name="connsiteY363" fmla="*/ 3743228 h 5927527"/>
              <a:gd name="connsiteX364" fmla="*/ 7434187 w 9901550"/>
              <a:gd name="connsiteY364" fmla="*/ 3557726 h 5927527"/>
              <a:gd name="connsiteX365" fmla="*/ 7619689 w 9901550"/>
              <a:gd name="connsiteY365" fmla="*/ 3372225 h 5927527"/>
              <a:gd name="connsiteX366" fmla="*/ 9289846 w 9901550"/>
              <a:gd name="connsiteY366" fmla="*/ 2954365 h 5927527"/>
              <a:gd name="connsiteX367" fmla="*/ 9336702 w 9901550"/>
              <a:gd name="connsiteY367" fmla="*/ 3001222 h 5927527"/>
              <a:gd name="connsiteX368" fmla="*/ 9289846 w 9901550"/>
              <a:gd name="connsiteY368" fmla="*/ 3048079 h 5927527"/>
              <a:gd name="connsiteX369" fmla="*/ 9242989 w 9901550"/>
              <a:gd name="connsiteY369" fmla="*/ 3001222 h 5927527"/>
              <a:gd name="connsiteX370" fmla="*/ 9289846 w 9901550"/>
              <a:gd name="connsiteY370" fmla="*/ 2954365 h 5927527"/>
              <a:gd name="connsiteX371" fmla="*/ 8733340 w 9901550"/>
              <a:gd name="connsiteY371" fmla="*/ 2907508 h 5927527"/>
              <a:gd name="connsiteX372" fmla="*/ 8827054 w 9901550"/>
              <a:gd name="connsiteY372" fmla="*/ 3001221 h 5927527"/>
              <a:gd name="connsiteX373" fmla="*/ 8733340 w 9901550"/>
              <a:gd name="connsiteY373" fmla="*/ 3094935 h 5927527"/>
              <a:gd name="connsiteX374" fmla="*/ 8697034 w 9901550"/>
              <a:gd name="connsiteY374" fmla="*/ 3087604 h 5927527"/>
              <a:gd name="connsiteX375" fmla="*/ 8696959 w 9901550"/>
              <a:gd name="connsiteY375" fmla="*/ 3087553 h 5927527"/>
              <a:gd name="connsiteX376" fmla="*/ 8696764 w 9901550"/>
              <a:gd name="connsiteY376" fmla="*/ 3087513 h 5927527"/>
              <a:gd name="connsiteX377" fmla="*/ 8680809 w 9901550"/>
              <a:gd name="connsiteY377" fmla="*/ 3076702 h 5927527"/>
              <a:gd name="connsiteX378" fmla="*/ 8667228 w 9901550"/>
              <a:gd name="connsiteY378" fmla="*/ 3067575 h 5927527"/>
              <a:gd name="connsiteX379" fmla="*/ 8667130 w 9901550"/>
              <a:gd name="connsiteY379" fmla="*/ 3067431 h 5927527"/>
              <a:gd name="connsiteX380" fmla="*/ 8666987 w 9901550"/>
              <a:gd name="connsiteY380" fmla="*/ 3067334 h 5927527"/>
              <a:gd name="connsiteX381" fmla="*/ 8657924 w 9901550"/>
              <a:gd name="connsiteY381" fmla="*/ 3053847 h 5927527"/>
              <a:gd name="connsiteX382" fmla="*/ 8647049 w 9901550"/>
              <a:gd name="connsiteY382" fmla="*/ 3037799 h 5927527"/>
              <a:gd name="connsiteX383" fmla="*/ 8647009 w 9901550"/>
              <a:gd name="connsiteY383" fmla="*/ 3037602 h 5927527"/>
              <a:gd name="connsiteX384" fmla="*/ 8646958 w 9901550"/>
              <a:gd name="connsiteY384" fmla="*/ 3037527 h 5927527"/>
              <a:gd name="connsiteX385" fmla="*/ 8639627 w 9901550"/>
              <a:gd name="connsiteY385" fmla="*/ 3001221 h 5927527"/>
              <a:gd name="connsiteX386" fmla="*/ 8646958 w 9901550"/>
              <a:gd name="connsiteY386" fmla="*/ 2964916 h 5927527"/>
              <a:gd name="connsiteX387" fmla="*/ 8647009 w 9901550"/>
              <a:gd name="connsiteY387" fmla="*/ 2964840 h 5927527"/>
              <a:gd name="connsiteX388" fmla="*/ 8647049 w 9901550"/>
              <a:gd name="connsiteY388" fmla="*/ 2964645 h 5927527"/>
              <a:gd name="connsiteX389" fmla="*/ 8657890 w 9901550"/>
              <a:gd name="connsiteY389" fmla="*/ 2948647 h 5927527"/>
              <a:gd name="connsiteX390" fmla="*/ 8666987 w 9901550"/>
              <a:gd name="connsiteY390" fmla="*/ 2935109 h 5927527"/>
              <a:gd name="connsiteX391" fmla="*/ 8667130 w 9901550"/>
              <a:gd name="connsiteY391" fmla="*/ 2935011 h 5927527"/>
              <a:gd name="connsiteX392" fmla="*/ 8667228 w 9901550"/>
              <a:gd name="connsiteY392" fmla="*/ 2934868 h 5927527"/>
              <a:gd name="connsiteX393" fmla="*/ 8680764 w 9901550"/>
              <a:gd name="connsiteY393" fmla="*/ 2925772 h 5927527"/>
              <a:gd name="connsiteX394" fmla="*/ 8696764 w 9901550"/>
              <a:gd name="connsiteY394" fmla="*/ 2914930 h 5927527"/>
              <a:gd name="connsiteX395" fmla="*/ 8696959 w 9901550"/>
              <a:gd name="connsiteY395" fmla="*/ 2914890 h 5927527"/>
              <a:gd name="connsiteX396" fmla="*/ 8697034 w 9901550"/>
              <a:gd name="connsiteY396" fmla="*/ 2914840 h 5927527"/>
              <a:gd name="connsiteX397" fmla="*/ 8733340 w 9901550"/>
              <a:gd name="connsiteY397" fmla="*/ 2907508 h 5927527"/>
              <a:gd name="connsiteX398" fmla="*/ 8176195 w 9901550"/>
              <a:gd name="connsiteY398" fmla="*/ 2838828 h 5927527"/>
              <a:gd name="connsiteX399" fmla="*/ 8338588 w 9901550"/>
              <a:gd name="connsiteY399" fmla="*/ 3001222 h 5927527"/>
              <a:gd name="connsiteX400" fmla="*/ 8176195 w 9901550"/>
              <a:gd name="connsiteY400" fmla="*/ 3163617 h 5927527"/>
              <a:gd name="connsiteX401" fmla="*/ 8013800 w 9901550"/>
              <a:gd name="connsiteY401" fmla="*/ 3001222 h 5927527"/>
              <a:gd name="connsiteX402" fmla="*/ 8176195 w 9901550"/>
              <a:gd name="connsiteY402" fmla="*/ 2838828 h 5927527"/>
              <a:gd name="connsiteX403" fmla="*/ 9289846 w 9901550"/>
              <a:gd name="connsiteY403" fmla="*/ 2378604 h 5927527"/>
              <a:gd name="connsiteX404" fmla="*/ 9355959 w 9901550"/>
              <a:gd name="connsiteY404" fmla="*/ 2444075 h 5927527"/>
              <a:gd name="connsiteX405" fmla="*/ 9289846 w 9901550"/>
              <a:gd name="connsiteY405" fmla="*/ 2510188 h 5927527"/>
              <a:gd name="connsiteX406" fmla="*/ 9223733 w 9901550"/>
              <a:gd name="connsiteY406" fmla="*/ 2444075 h 5927527"/>
              <a:gd name="connsiteX407" fmla="*/ 9289846 w 9901550"/>
              <a:gd name="connsiteY407" fmla="*/ 2378604 h 5927527"/>
              <a:gd name="connsiteX408" fmla="*/ 8733341 w 9901550"/>
              <a:gd name="connsiteY408" fmla="*/ 2316342 h 5927527"/>
              <a:gd name="connsiteX409" fmla="*/ 8783186 w 9901550"/>
              <a:gd name="connsiteY409" fmla="*/ 2326382 h 5927527"/>
              <a:gd name="connsiteX410" fmla="*/ 8783262 w 9901550"/>
              <a:gd name="connsiteY410" fmla="*/ 2326432 h 5927527"/>
              <a:gd name="connsiteX411" fmla="*/ 8783457 w 9901550"/>
              <a:gd name="connsiteY411" fmla="*/ 2326472 h 5927527"/>
              <a:gd name="connsiteX412" fmla="*/ 8805377 w 9901550"/>
              <a:gd name="connsiteY412" fmla="*/ 2341293 h 5927527"/>
              <a:gd name="connsiteX413" fmla="*/ 8824006 w 9901550"/>
              <a:gd name="connsiteY413" fmla="*/ 2353812 h 5927527"/>
              <a:gd name="connsiteX414" fmla="*/ 8824103 w 9901550"/>
              <a:gd name="connsiteY414" fmla="*/ 2353955 h 5927527"/>
              <a:gd name="connsiteX415" fmla="*/ 8824247 w 9901550"/>
              <a:gd name="connsiteY415" fmla="*/ 2354052 h 5927527"/>
              <a:gd name="connsiteX416" fmla="*/ 8836766 w 9901550"/>
              <a:gd name="connsiteY416" fmla="*/ 2372684 h 5927527"/>
              <a:gd name="connsiteX417" fmla="*/ 8851586 w 9901550"/>
              <a:gd name="connsiteY417" fmla="*/ 2394601 h 5927527"/>
              <a:gd name="connsiteX418" fmla="*/ 8851626 w 9901550"/>
              <a:gd name="connsiteY418" fmla="*/ 2394796 h 5927527"/>
              <a:gd name="connsiteX419" fmla="*/ 8851677 w 9901550"/>
              <a:gd name="connsiteY419" fmla="*/ 2394872 h 5927527"/>
              <a:gd name="connsiteX420" fmla="*/ 8861716 w 9901550"/>
              <a:gd name="connsiteY420" fmla="*/ 2444717 h 5927527"/>
              <a:gd name="connsiteX421" fmla="*/ 8733341 w 9901550"/>
              <a:gd name="connsiteY421" fmla="*/ 2573092 h 5927527"/>
              <a:gd name="connsiteX422" fmla="*/ 8683496 w 9901550"/>
              <a:gd name="connsiteY422" fmla="*/ 2563053 h 5927527"/>
              <a:gd name="connsiteX423" fmla="*/ 8683420 w 9901550"/>
              <a:gd name="connsiteY423" fmla="*/ 2563002 h 5927527"/>
              <a:gd name="connsiteX424" fmla="*/ 8683225 w 9901550"/>
              <a:gd name="connsiteY424" fmla="*/ 2562963 h 5927527"/>
              <a:gd name="connsiteX425" fmla="*/ 8661295 w 9901550"/>
              <a:gd name="connsiteY425" fmla="*/ 2548134 h 5927527"/>
              <a:gd name="connsiteX426" fmla="*/ 8642676 w 9901550"/>
              <a:gd name="connsiteY426" fmla="*/ 2535623 h 5927527"/>
              <a:gd name="connsiteX427" fmla="*/ 8642579 w 9901550"/>
              <a:gd name="connsiteY427" fmla="*/ 2535479 h 5927527"/>
              <a:gd name="connsiteX428" fmla="*/ 8642436 w 9901550"/>
              <a:gd name="connsiteY428" fmla="*/ 2535382 h 5927527"/>
              <a:gd name="connsiteX429" fmla="*/ 8629916 w 9901550"/>
              <a:gd name="connsiteY429" fmla="*/ 2516751 h 5927527"/>
              <a:gd name="connsiteX430" fmla="*/ 8615096 w 9901550"/>
              <a:gd name="connsiteY430" fmla="*/ 2494834 h 5927527"/>
              <a:gd name="connsiteX431" fmla="*/ 8615056 w 9901550"/>
              <a:gd name="connsiteY431" fmla="*/ 2494638 h 5927527"/>
              <a:gd name="connsiteX432" fmla="*/ 8615005 w 9901550"/>
              <a:gd name="connsiteY432" fmla="*/ 2494563 h 5927527"/>
              <a:gd name="connsiteX433" fmla="*/ 8604966 w 9901550"/>
              <a:gd name="connsiteY433" fmla="*/ 2444717 h 5927527"/>
              <a:gd name="connsiteX434" fmla="*/ 8615005 w 9901550"/>
              <a:gd name="connsiteY434" fmla="*/ 2394872 h 5927527"/>
              <a:gd name="connsiteX435" fmla="*/ 8615056 w 9901550"/>
              <a:gd name="connsiteY435" fmla="*/ 2394796 h 5927527"/>
              <a:gd name="connsiteX436" fmla="*/ 8615096 w 9901550"/>
              <a:gd name="connsiteY436" fmla="*/ 2394601 h 5927527"/>
              <a:gd name="connsiteX437" fmla="*/ 8629916 w 9901550"/>
              <a:gd name="connsiteY437" fmla="*/ 2372683 h 5927527"/>
              <a:gd name="connsiteX438" fmla="*/ 8642436 w 9901550"/>
              <a:gd name="connsiteY438" fmla="*/ 2354052 h 5927527"/>
              <a:gd name="connsiteX439" fmla="*/ 8642579 w 9901550"/>
              <a:gd name="connsiteY439" fmla="*/ 2353955 h 5927527"/>
              <a:gd name="connsiteX440" fmla="*/ 8642676 w 9901550"/>
              <a:gd name="connsiteY440" fmla="*/ 2353812 h 5927527"/>
              <a:gd name="connsiteX441" fmla="*/ 8661295 w 9901550"/>
              <a:gd name="connsiteY441" fmla="*/ 2341300 h 5927527"/>
              <a:gd name="connsiteX442" fmla="*/ 8683225 w 9901550"/>
              <a:gd name="connsiteY442" fmla="*/ 2326472 h 5927527"/>
              <a:gd name="connsiteX443" fmla="*/ 8683420 w 9901550"/>
              <a:gd name="connsiteY443" fmla="*/ 2326432 h 5927527"/>
              <a:gd name="connsiteX444" fmla="*/ 8683496 w 9901550"/>
              <a:gd name="connsiteY444" fmla="*/ 2326382 h 5927527"/>
              <a:gd name="connsiteX445" fmla="*/ 8733341 w 9901550"/>
              <a:gd name="connsiteY445" fmla="*/ 2316342 h 5927527"/>
              <a:gd name="connsiteX446" fmla="*/ 8176194 w 9901550"/>
              <a:gd name="connsiteY446" fmla="*/ 2230973 h 5927527"/>
              <a:gd name="connsiteX447" fmla="*/ 8389938 w 9901550"/>
              <a:gd name="connsiteY447" fmla="*/ 2444717 h 5927527"/>
              <a:gd name="connsiteX448" fmla="*/ 8176194 w 9901550"/>
              <a:gd name="connsiteY448" fmla="*/ 2658462 h 5927527"/>
              <a:gd name="connsiteX449" fmla="*/ 7962450 w 9901550"/>
              <a:gd name="connsiteY449" fmla="*/ 2444717 h 5927527"/>
              <a:gd name="connsiteX450" fmla="*/ 8176194 w 9901550"/>
              <a:gd name="connsiteY450" fmla="*/ 2230973 h 5927527"/>
              <a:gd name="connsiteX451" fmla="*/ 9846351 w 9901550"/>
              <a:gd name="connsiteY451" fmla="*/ 1849709 h 5927527"/>
              <a:gd name="connsiteX452" fmla="*/ 9884221 w 9901550"/>
              <a:gd name="connsiteY452" fmla="*/ 1887579 h 5927527"/>
              <a:gd name="connsiteX453" fmla="*/ 9884088 w 9901550"/>
              <a:gd name="connsiteY453" fmla="*/ 1887897 h 5927527"/>
              <a:gd name="connsiteX454" fmla="*/ 9884221 w 9901550"/>
              <a:gd name="connsiteY454" fmla="*/ 1888215 h 5927527"/>
              <a:gd name="connsiteX455" fmla="*/ 9846351 w 9901550"/>
              <a:gd name="connsiteY455" fmla="*/ 1926085 h 5927527"/>
              <a:gd name="connsiteX456" fmla="*/ 9808480 w 9901550"/>
              <a:gd name="connsiteY456" fmla="*/ 1888215 h 5927527"/>
              <a:gd name="connsiteX457" fmla="*/ 9808613 w 9901550"/>
              <a:gd name="connsiteY457" fmla="*/ 1887897 h 5927527"/>
              <a:gd name="connsiteX458" fmla="*/ 9808480 w 9901550"/>
              <a:gd name="connsiteY458" fmla="*/ 1887579 h 5927527"/>
              <a:gd name="connsiteX459" fmla="*/ 9846351 w 9901550"/>
              <a:gd name="connsiteY459" fmla="*/ 1849709 h 5927527"/>
              <a:gd name="connsiteX460" fmla="*/ 9289846 w 9901550"/>
              <a:gd name="connsiteY460" fmla="*/ 1802846 h 5927527"/>
              <a:gd name="connsiteX461" fmla="*/ 9374573 w 9901550"/>
              <a:gd name="connsiteY461" fmla="*/ 1887573 h 5927527"/>
              <a:gd name="connsiteX462" fmla="*/ 9374508 w 9901550"/>
              <a:gd name="connsiteY462" fmla="*/ 1887897 h 5927527"/>
              <a:gd name="connsiteX463" fmla="*/ 9374573 w 9901550"/>
              <a:gd name="connsiteY463" fmla="*/ 1888221 h 5927527"/>
              <a:gd name="connsiteX464" fmla="*/ 9289846 w 9901550"/>
              <a:gd name="connsiteY464" fmla="*/ 1972949 h 5927527"/>
              <a:gd name="connsiteX465" fmla="*/ 9205118 w 9901550"/>
              <a:gd name="connsiteY465" fmla="*/ 1888221 h 5927527"/>
              <a:gd name="connsiteX466" fmla="*/ 9205183 w 9901550"/>
              <a:gd name="connsiteY466" fmla="*/ 1887897 h 5927527"/>
              <a:gd name="connsiteX467" fmla="*/ 9205118 w 9901550"/>
              <a:gd name="connsiteY467" fmla="*/ 1887573 h 5927527"/>
              <a:gd name="connsiteX468" fmla="*/ 9289846 w 9901550"/>
              <a:gd name="connsiteY468" fmla="*/ 1802846 h 5927527"/>
              <a:gd name="connsiteX469" fmla="*/ 8733341 w 9901550"/>
              <a:gd name="connsiteY469" fmla="*/ 1725828 h 5927527"/>
              <a:gd name="connsiteX470" fmla="*/ 8895094 w 9901550"/>
              <a:gd name="connsiteY470" fmla="*/ 1887580 h 5927527"/>
              <a:gd name="connsiteX471" fmla="*/ 8895028 w 9901550"/>
              <a:gd name="connsiteY471" fmla="*/ 1887898 h 5927527"/>
              <a:gd name="connsiteX472" fmla="*/ 8895094 w 9901550"/>
              <a:gd name="connsiteY472" fmla="*/ 1888215 h 5927527"/>
              <a:gd name="connsiteX473" fmla="*/ 8733341 w 9901550"/>
              <a:gd name="connsiteY473" fmla="*/ 2049968 h 5927527"/>
              <a:gd name="connsiteX474" fmla="*/ 8571589 w 9901550"/>
              <a:gd name="connsiteY474" fmla="*/ 1888215 h 5927527"/>
              <a:gd name="connsiteX475" fmla="*/ 8571653 w 9901550"/>
              <a:gd name="connsiteY475" fmla="*/ 1887898 h 5927527"/>
              <a:gd name="connsiteX476" fmla="*/ 8571589 w 9901550"/>
              <a:gd name="connsiteY476" fmla="*/ 1887580 h 5927527"/>
              <a:gd name="connsiteX477" fmla="*/ 8733341 w 9901550"/>
              <a:gd name="connsiteY477" fmla="*/ 1725828 h 5927527"/>
              <a:gd name="connsiteX478" fmla="*/ 9846351 w 9901550"/>
              <a:gd name="connsiteY478" fmla="*/ 1283568 h 5927527"/>
              <a:gd name="connsiteX479" fmla="*/ 9893850 w 9901550"/>
              <a:gd name="connsiteY479" fmla="*/ 1331067 h 5927527"/>
              <a:gd name="connsiteX480" fmla="*/ 9893849 w 9901550"/>
              <a:gd name="connsiteY480" fmla="*/ 1331071 h 5927527"/>
              <a:gd name="connsiteX481" fmla="*/ 9893850 w 9901550"/>
              <a:gd name="connsiteY481" fmla="*/ 1331074 h 5927527"/>
              <a:gd name="connsiteX482" fmla="*/ 9846351 w 9901550"/>
              <a:gd name="connsiteY482" fmla="*/ 1378572 h 5927527"/>
              <a:gd name="connsiteX483" fmla="*/ 9798852 w 9901550"/>
              <a:gd name="connsiteY483" fmla="*/ 1331074 h 5927527"/>
              <a:gd name="connsiteX484" fmla="*/ 9798853 w 9901550"/>
              <a:gd name="connsiteY484" fmla="*/ 1331071 h 5927527"/>
              <a:gd name="connsiteX485" fmla="*/ 9798852 w 9901550"/>
              <a:gd name="connsiteY485" fmla="*/ 1331067 h 5927527"/>
              <a:gd name="connsiteX486" fmla="*/ 9846351 w 9901550"/>
              <a:gd name="connsiteY486" fmla="*/ 1283568 h 5927527"/>
              <a:gd name="connsiteX487" fmla="*/ 9289846 w 9901550"/>
              <a:gd name="connsiteY487" fmla="*/ 1227085 h 5927527"/>
              <a:gd name="connsiteX488" fmla="*/ 9393829 w 9901550"/>
              <a:gd name="connsiteY488" fmla="*/ 1331069 h 5927527"/>
              <a:gd name="connsiteX489" fmla="*/ 9393764 w 9901550"/>
              <a:gd name="connsiteY489" fmla="*/ 1331392 h 5927527"/>
              <a:gd name="connsiteX490" fmla="*/ 9393829 w 9901550"/>
              <a:gd name="connsiteY490" fmla="*/ 1331716 h 5927527"/>
              <a:gd name="connsiteX491" fmla="*/ 9289846 w 9901550"/>
              <a:gd name="connsiteY491" fmla="*/ 1435699 h 5927527"/>
              <a:gd name="connsiteX492" fmla="*/ 9185862 w 9901550"/>
              <a:gd name="connsiteY492" fmla="*/ 1331716 h 5927527"/>
              <a:gd name="connsiteX493" fmla="*/ 9185928 w 9901550"/>
              <a:gd name="connsiteY493" fmla="*/ 1331392 h 5927527"/>
              <a:gd name="connsiteX494" fmla="*/ 9185862 w 9901550"/>
              <a:gd name="connsiteY494" fmla="*/ 1331069 h 5927527"/>
              <a:gd name="connsiteX495" fmla="*/ 9289846 w 9901550"/>
              <a:gd name="connsiteY495" fmla="*/ 1227085 h 5927527"/>
              <a:gd name="connsiteX496" fmla="*/ 8733341 w 9901550"/>
              <a:gd name="connsiteY496" fmla="*/ 1144925 h 5927527"/>
              <a:gd name="connsiteX497" fmla="*/ 8919484 w 9901550"/>
              <a:gd name="connsiteY497" fmla="*/ 1331069 h 5927527"/>
              <a:gd name="connsiteX498" fmla="*/ 8919483 w 9901550"/>
              <a:gd name="connsiteY498" fmla="*/ 1331072 h 5927527"/>
              <a:gd name="connsiteX499" fmla="*/ 8919484 w 9901550"/>
              <a:gd name="connsiteY499" fmla="*/ 1331076 h 5927527"/>
              <a:gd name="connsiteX500" fmla="*/ 8733341 w 9901550"/>
              <a:gd name="connsiteY500" fmla="*/ 1517219 h 5927527"/>
              <a:gd name="connsiteX501" fmla="*/ 8547197 w 9901550"/>
              <a:gd name="connsiteY501" fmla="*/ 1331076 h 5927527"/>
              <a:gd name="connsiteX502" fmla="*/ 8547198 w 9901550"/>
              <a:gd name="connsiteY502" fmla="*/ 1331072 h 5927527"/>
              <a:gd name="connsiteX503" fmla="*/ 8547197 w 9901550"/>
              <a:gd name="connsiteY503" fmla="*/ 1331069 h 5927527"/>
              <a:gd name="connsiteX504" fmla="*/ 8733341 w 9901550"/>
              <a:gd name="connsiteY504" fmla="*/ 1144925 h 5927527"/>
              <a:gd name="connsiteX505" fmla="*/ 9846351 w 9901550"/>
              <a:gd name="connsiteY505" fmla="*/ 721287 h 5927527"/>
              <a:gd name="connsiteX506" fmla="*/ 9899627 w 9901550"/>
              <a:gd name="connsiteY506" fmla="*/ 774563 h 5927527"/>
              <a:gd name="connsiteX507" fmla="*/ 9899626 w 9901550"/>
              <a:gd name="connsiteY507" fmla="*/ 774566 h 5927527"/>
              <a:gd name="connsiteX508" fmla="*/ 9899627 w 9901550"/>
              <a:gd name="connsiteY508" fmla="*/ 774569 h 5927527"/>
              <a:gd name="connsiteX509" fmla="*/ 9846351 w 9901550"/>
              <a:gd name="connsiteY509" fmla="*/ 827844 h 5927527"/>
              <a:gd name="connsiteX510" fmla="*/ 9793075 w 9901550"/>
              <a:gd name="connsiteY510" fmla="*/ 774569 h 5927527"/>
              <a:gd name="connsiteX511" fmla="*/ 9793076 w 9901550"/>
              <a:gd name="connsiteY511" fmla="*/ 774566 h 5927527"/>
              <a:gd name="connsiteX512" fmla="*/ 9793075 w 9901550"/>
              <a:gd name="connsiteY512" fmla="*/ 774563 h 5927527"/>
              <a:gd name="connsiteX513" fmla="*/ 9846351 w 9901550"/>
              <a:gd name="connsiteY513" fmla="*/ 721287 h 5927527"/>
              <a:gd name="connsiteX514" fmla="*/ 9289847 w 9901550"/>
              <a:gd name="connsiteY514" fmla="*/ 657747 h 5927527"/>
              <a:gd name="connsiteX515" fmla="*/ 9406667 w 9901550"/>
              <a:gd name="connsiteY515" fmla="*/ 774568 h 5927527"/>
              <a:gd name="connsiteX516" fmla="*/ 9406601 w 9901550"/>
              <a:gd name="connsiteY516" fmla="*/ 774885 h 5927527"/>
              <a:gd name="connsiteX517" fmla="*/ 9406667 w 9901550"/>
              <a:gd name="connsiteY517" fmla="*/ 775204 h 5927527"/>
              <a:gd name="connsiteX518" fmla="*/ 9289847 w 9901550"/>
              <a:gd name="connsiteY518" fmla="*/ 892025 h 5927527"/>
              <a:gd name="connsiteX519" fmla="*/ 9173025 w 9901550"/>
              <a:gd name="connsiteY519" fmla="*/ 775204 h 5927527"/>
              <a:gd name="connsiteX520" fmla="*/ 9173089 w 9901550"/>
              <a:gd name="connsiteY520" fmla="*/ 774886 h 5927527"/>
              <a:gd name="connsiteX521" fmla="*/ 9173025 w 9901550"/>
              <a:gd name="connsiteY521" fmla="*/ 774568 h 5927527"/>
              <a:gd name="connsiteX522" fmla="*/ 9289847 w 9901550"/>
              <a:gd name="connsiteY522" fmla="*/ 657747 h 5927527"/>
              <a:gd name="connsiteX523" fmla="*/ 8733165 w 9901550"/>
              <a:gd name="connsiteY523" fmla="*/ 568394 h 5927527"/>
              <a:gd name="connsiteX524" fmla="*/ 8738850 w 9901550"/>
              <a:gd name="connsiteY524" fmla="*/ 568939 h 5927527"/>
              <a:gd name="connsiteX525" fmla="*/ 8739361 w 9901550"/>
              <a:gd name="connsiteY525" fmla="*/ 568866 h 5927527"/>
              <a:gd name="connsiteX526" fmla="*/ 8742720 w 9901550"/>
              <a:gd name="connsiteY526" fmla="*/ 569310 h 5927527"/>
              <a:gd name="connsiteX527" fmla="*/ 8772517 w 9901550"/>
              <a:gd name="connsiteY527" fmla="*/ 572166 h 5927527"/>
              <a:gd name="connsiteX528" fmla="*/ 8779110 w 9901550"/>
              <a:gd name="connsiteY528" fmla="*/ 574120 h 5927527"/>
              <a:gd name="connsiteX529" fmla="*/ 8780734 w 9901550"/>
              <a:gd name="connsiteY529" fmla="*/ 574335 h 5927527"/>
              <a:gd name="connsiteX530" fmla="*/ 8786198 w 9901550"/>
              <a:gd name="connsiteY530" fmla="*/ 576220 h 5927527"/>
              <a:gd name="connsiteX531" fmla="*/ 8810698 w 9901550"/>
              <a:gd name="connsiteY531" fmla="*/ 583481 h 5927527"/>
              <a:gd name="connsiteX532" fmla="*/ 8817299 w 9901550"/>
              <a:gd name="connsiteY532" fmla="*/ 586955 h 5927527"/>
              <a:gd name="connsiteX533" fmla="*/ 8820184 w 9901550"/>
              <a:gd name="connsiteY533" fmla="*/ 587951 h 5927527"/>
              <a:gd name="connsiteX534" fmla="*/ 8828406 w 9901550"/>
              <a:gd name="connsiteY534" fmla="*/ 592800 h 5927527"/>
              <a:gd name="connsiteX535" fmla="*/ 8846535 w 9901550"/>
              <a:gd name="connsiteY535" fmla="*/ 602340 h 5927527"/>
              <a:gd name="connsiteX536" fmla="*/ 8851608 w 9901550"/>
              <a:gd name="connsiteY536" fmla="*/ 606484 h 5927527"/>
              <a:gd name="connsiteX537" fmla="*/ 8855065 w 9901550"/>
              <a:gd name="connsiteY537" fmla="*/ 608523 h 5927527"/>
              <a:gd name="connsiteX538" fmla="*/ 8858018 w 9901550"/>
              <a:gd name="connsiteY538" fmla="*/ 611719 h 5927527"/>
              <a:gd name="connsiteX539" fmla="*/ 8878857 w 9901550"/>
              <a:gd name="connsiteY539" fmla="*/ 628742 h 5927527"/>
              <a:gd name="connsiteX540" fmla="*/ 8891949 w 9901550"/>
              <a:gd name="connsiteY540" fmla="*/ 648458 h 5927527"/>
              <a:gd name="connsiteX541" fmla="*/ 8908655 w 9901550"/>
              <a:gd name="connsiteY541" fmla="*/ 666546 h 5927527"/>
              <a:gd name="connsiteX542" fmla="*/ 8914857 w 9901550"/>
              <a:gd name="connsiteY542" fmla="*/ 682955 h 5927527"/>
              <a:gd name="connsiteX543" fmla="*/ 8924117 w 9901550"/>
              <a:gd name="connsiteY543" fmla="*/ 696901 h 5927527"/>
              <a:gd name="connsiteX544" fmla="*/ 8928352 w 9901550"/>
              <a:gd name="connsiteY544" fmla="*/ 718665 h 5927527"/>
              <a:gd name="connsiteX545" fmla="*/ 8936578 w 9901550"/>
              <a:gd name="connsiteY545" fmla="*/ 740430 h 5927527"/>
              <a:gd name="connsiteX546" fmla="*/ 8938781 w 9901550"/>
              <a:gd name="connsiteY546" fmla="*/ 772260 h 5927527"/>
              <a:gd name="connsiteX547" fmla="*/ 8939204 w 9901550"/>
              <a:gd name="connsiteY547" fmla="*/ 774434 h 5927527"/>
              <a:gd name="connsiteX548" fmla="*/ 8939003 w 9901550"/>
              <a:gd name="connsiteY548" fmla="*/ 775467 h 5927527"/>
              <a:gd name="connsiteX549" fmla="*/ 8939374 w 9901550"/>
              <a:gd name="connsiteY549" fmla="*/ 780829 h 5927527"/>
              <a:gd name="connsiteX550" fmla="*/ 8933906 w 9901550"/>
              <a:gd name="connsiteY550" fmla="*/ 822202 h 5927527"/>
              <a:gd name="connsiteX551" fmla="*/ 8926978 w 9901550"/>
              <a:gd name="connsiteY551" fmla="*/ 837265 h 5927527"/>
              <a:gd name="connsiteX552" fmla="*/ 8924117 w 9901550"/>
              <a:gd name="connsiteY552" fmla="*/ 851967 h 5927527"/>
              <a:gd name="connsiteX553" fmla="*/ 8911425 w 9901550"/>
              <a:gd name="connsiteY553" fmla="*/ 871080 h 5927527"/>
              <a:gd name="connsiteX554" fmla="*/ 8899718 w 9901550"/>
              <a:gd name="connsiteY554" fmla="*/ 896533 h 5927527"/>
              <a:gd name="connsiteX555" fmla="*/ 8886283 w 9901550"/>
              <a:gd name="connsiteY555" fmla="*/ 908942 h 5927527"/>
              <a:gd name="connsiteX556" fmla="*/ 8878856 w 9901550"/>
              <a:gd name="connsiteY556" fmla="*/ 920126 h 5927527"/>
              <a:gd name="connsiteX557" fmla="*/ 8846534 w 9901550"/>
              <a:gd name="connsiteY557" fmla="*/ 946528 h 5927527"/>
              <a:gd name="connsiteX558" fmla="*/ 8844334 w 9901550"/>
              <a:gd name="connsiteY558" fmla="*/ 947686 h 5927527"/>
              <a:gd name="connsiteX559" fmla="*/ 8841695 w 9901550"/>
              <a:gd name="connsiteY559" fmla="*/ 950123 h 5927527"/>
              <a:gd name="connsiteX560" fmla="*/ 8767810 w 9901550"/>
              <a:gd name="connsiteY560" fmla="*/ 978046 h 5927527"/>
              <a:gd name="connsiteX561" fmla="*/ 8734266 w 9901550"/>
              <a:gd name="connsiteY561" fmla="*/ 980368 h 5927527"/>
              <a:gd name="connsiteX562" fmla="*/ 8733165 w 9901550"/>
              <a:gd name="connsiteY562" fmla="*/ 980473 h 5927527"/>
              <a:gd name="connsiteX563" fmla="*/ 8732987 w 9901550"/>
              <a:gd name="connsiteY563" fmla="*/ 980456 h 5927527"/>
              <a:gd name="connsiteX564" fmla="*/ 8727412 w 9901550"/>
              <a:gd name="connsiteY564" fmla="*/ 980842 h 5927527"/>
              <a:gd name="connsiteX565" fmla="*/ 8702082 w 9901550"/>
              <a:gd name="connsiteY565" fmla="*/ 977494 h 5927527"/>
              <a:gd name="connsiteX566" fmla="*/ 8693812 w 9901550"/>
              <a:gd name="connsiteY566" fmla="*/ 976701 h 5927527"/>
              <a:gd name="connsiteX567" fmla="*/ 8691982 w 9901550"/>
              <a:gd name="connsiteY567" fmla="*/ 976159 h 5927527"/>
              <a:gd name="connsiteX568" fmla="*/ 8686038 w 9901550"/>
              <a:gd name="connsiteY568" fmla="*/ 975373 h 5927527"/>
              <a:gd name="connsiteX569" fmla="*/ 8666035 w 9901550"/>
              <a:gd name="connsiteY569" fmla="*/ 968469 h 5927527"/>
              <a:gd name="connsiteX570" fmla="*/ 8655632 w 9901550"/>
              <a:gd name="connsiteY570" fmla="*/ 965386 h 5927527"/>
              <a:gd name="connsiteX571" fmla="*/ 8652829 w 9901550"/>
              <a:gd name="connsiteY571" fmla="*/ 963911 h 5927527"/>
              <a:gd name="connsiteX572" fmla="*/ 8646588 w 9901550"/>
              <a:gd name="connsiteY572" fmla="*/ 961757 h 5927527"/>
              <a:gd name="connsiteX573" fmla="*/ 8628806 w 9901550"/>
              <a:gd name="connsiteY573" fmla="*/ 951270 h 5927527"/>
              <a:gd name="connsiteX574" fmla="*/ 8619795 w 9901550"/>
              <a:gd name="connsiteY574" fmla="*/ 946528 h 5927527"/>
              <a:gd name="connsiteX575" fmla="*/ 8617273 w 9901550"/>
              <a:gd name="connsiteY575" fmla="*/ 944468 h 5927527"/>
              <a:gd name="connsiteX576" fmla="*/ 8611707 w 9901550"/>
              <a:gd name="connsiteY576" fmla="*/ 941186 h 5927527"/>
              <a:gd name="connsiteX577" fmla="*/ 8606954 w 9901550"/>
              <a:gd name="connsiteY577" fmla="*/ 936039 h 5927527"/>
              <a:gd name="connsiteX578" fmla="*/ 8587473 w 9901550"/>
              <a:gd name="connsiteY578" fmla="*/ 920126 h 5927527"/>
              <a:gd name="connsiteX579" fmla="*/ 8575234 w 9901550"/>
              <a:gd name="connsiteY579" fmla="*/ 901695 h 5927527"/>
              <a:gd name="connsiteX580" fmla="*/ 8558117 w 9901550"/>
              <a:gd name="connsiteY580" fmla="*/ 883162 h 5927527"/>
              <a:gd name="connsiteX581" fmla="*/ 8551763 w 9901550"/>
              <a:gd name="connsiteY581" fmla="*/ 866350 h 5927527"/>
              <a:gd name="connsiteX582" fmla="*/ 8542212 w 9901550"/>
              <a:gd name="connsiteY582" fmla="*/ 851967 h 5927527"/>
              <a:gd name="connsiteX583" fmla="*/ 8537844 w 9901550"/>
              <a:gd name="connsiteY583" fmla="*/ 829519 h 5927527"/>
              <a:gd name="connsiteX584" fmla="*/ 8530194 w 9901550"/>
              <a:gd name="connsiteY584" fmla="*/ 809278 h 5927527"/>
              <a:gd name="connsiteX585" fmla="*/ 8528145 w 9901550"/>
              <a:gd name="connsiteY585" fmla="*/ 779677 h 5927527"/>
              <a:gd name="connsiteX586" fmla="*/ 8527125 w 9901550"/>
              <a:gd name="connsiteY586" fmla="*/ 774434 h 5927527"/>
              <a:gd name="connsiteX587" fmla="*/ 8527610 w 9901550"/>
              <a:gd name="connsiteY587" fmla="*/ 771942 h 5927527"/>
              <a:gd name="connsiteX588" fmla="*/ 8527398 w 9901550"/>
              <a:gd name="connsiteY588" fmla="*/ 768879 h 5927527"/>
              <a:gd name="connsiteX589" fmla="*/ 8532866 w 9901550"/>
              <a:gd name="connsiteY589" fmla="*/ 727506 h 5927527"/>
              <a:gd name="connsiteX590" fmla="*/ 8539052 w 9901550"/>
              <a:gd name="connsiteY590" fmla="*/ 713137 h 5927527"/>
              <a:gd name="connsiteX591" fmla="*/ 8542212 w 9901550"/>
              <a:gd name="connsiteY591" fmla="*/ 696901 h 5927527"/>
              <a:gd name="connsiteX592" fmla="*/ 8553108 w 9901550"/>
              <a:gd name="connsiteY592" fmla="*/ 680492 h 5927527"/>
              <a:gd name="connsiteX593" fmla="*/ 8561314 w 9901550"/>
              <a:gd name="connsiteY593" fmla="*/ 661433 h 5927527"/>
              <a:gd name="connsiteX594" fmla="*/ 8576600 w 9901550"/>
              <a:gd name="connsiteY594" fmla="*/ 645115 h 5927527"/>
              <a:gd name="connsiteX595" fmla="*/ 8587472 w 9901550"/>
              <a:gd name="connsiteY595" fmla="*/ 628742 h 5927527"/>
              <a:gd name="connsiteX596" fmla="*/ 8606485 w 9901550"/>
              <a:gd name="connsiteY596" fmla="*/ 613212 h 5927527"/>
              <a:gd name="connsiteX597" fmla="*/ 8608773 w 9901550"/>
              <a:gd name="connsiteY597" fmla="*/ 610769 h 5927527"/>
              <a:gd name="connsiteX598" fmla="*/ 8610724 w 9901550"/>
              <a:gd name="connsiteY598" fmla="*/ 609749 h 5927527"/>
              <a:gd name="connsiteX599" fmla="*/ 8619794 w 9901550"/>
              <a:gd name="connsiteY599" fmla="*/ 602340 h 5927527"/>
              <a:gd name="connsiteX600" fmla="*/ 8655631 w 9901550"/>
              <a:gd name="connsiteY600" fmla="*/ 583481 h 5927527"/>
              <a:gd name="connsiteX601" fmla="*/ 8667964 w 9901550"/>
              <a:gd name="connsiteY601" fmla="*/ 579826 h 5927527"/>
              <a:gd name="connsiteX602" fmla="*/ 8669903 w 9901550"/>
              <a:gd name="connsiteY602" fmla="*/ 578812 h 5927527"/>
              <a:gd name="connsiteX603" fmla="*/ 8672770 w 9901550"/>
              <a:gd name="connsiteY603" fmla="*/ 578402 h 5927527"/>
              <a:gd name="connsiteX604" fmla="*/ 8693812 w 9901550"/>
              <a:gd name="connsiteY604" fmla="*/ 572166 h 5927527"/>
              <a:gd name="connsiteX605" fmla="*/ 8733165 w 9901550"/>
              <a:gd name="connsiteY605" fmla="*/ 568394 h 5927527"/>
              <a:gd name="connsiteX606" fmla="*/ 9846351 w 9901550"/>
              <a:gd name="connsiteY606" fmla="*/ 162856 h 5927527"/>
              <a:gd name="connsiteX607" fmla="*/ 9897259 w 9901550"/>
              <a:gd name="connsiteY607" fmla="*/ 196434 h 5927527"/>
              <a:gd name="connsiteX608" fmla="*/ 9901550 w 9901550"/>
              <a:gd name="connsiteY608" fmla="*/ 218047 h 5927527"/>
              <a:gd name="connsiteX609" fmla="*/ 9901550 w 9901550"/>
              <a:gd name="connsiteY609" fmla="*/ 218073 h 5927527"/>
              <a:gd name="connsiteX610" fmla="*/ 9897259 w 9901550"/>
              <a:gd name="connsiteY610" fmla="*/ 239415 h 5927527"/>
              <a:gd name="connsiteX611" fmla="*/ 9846351 w 9901550"/>
              <a:gd name="connsiteY611" fmla="*/ 273264 h 5927527"/>
              <a:gd name="connsiteX612" fmla="*/ 9842370 w 9901550"/>
              <a:gd name="connsiteY612" fmla="*/ 272457 h 5927527"/>
              <a:gd name="connsiteX613" fmla="*/ 9824999 w 9901550"/>
              <a:gd name="connsiteY613" fmla="*/ 268965 h 5927527"/>
              <a:gd name="connsiteX614" fmla="*/ 9824937 w 9901550"/>
              <a:gd name="connsiteY614" fmla="*/ 268924 h 5927527"/>
              <a:gd name="connsiteX615" fmla="*/ 9824728 w 9901550"/>
              <a:gd name="connsiteY615" fmla="*/ 268881 h 5927527"/>
              <a:gd name="connsiteX616" fmla="*/ 9814698 w 9901550"/>
              <a:gd name="connsiteY616" fmla="*/ 262071 h 5927527"/>
              <a:gd name="connsiteX617" fmla="*/ 9807437 w 9901550"/>
              <a:gd name="connsiteY617" fmla="*/ 257211 h 5927527"/>
              <a:gd name="connsiteX618" fmla="*/ 9807348 w 9901550"/>
              <a:gd name="connsiteY618" fmla="*/ 257080 h 5927527"/>
              <a:gd name="connsiteX619" fmla="*/ 9807197 w 9901550"/>
              <a:gd name="connsiteY619" fmla="*/ 256977 h 5927527"/>
              <a:gd name="connsiteX620" fmla="*/ 9801574 w 9901550"/>
              <a:gd name="connsiteY620" fmla="*/ 248576 h 5927527"/>
              <a:gd name="connsiteX621" fmla="*/ 9795533 w 9901550"/>
              <a:gd name="connsiteY621" fmla="*/ 239680 h 5927527"/>
              <a:gd name="connsiteX622" fmla="*/ 9795495 w 9901550"/>
              <a:gd name="connsiteY622" fmla="*/ 239494 h 5927527"/>
              <a:gd name="connsiteX623" fmla="*/ 9795442 w 9901550"/>
              <a:gd name="connsiteY623" fmla="*/ 239415 h 5927527"/>
              <a:gd name="connsiteX624" fmla="*/ 9791150 w 9901550"/>
              <a:gd name="connsiteY624" fmla="*/ 218063 h 5927527"/>
              <a:gd name="connsiteX625" fmla="*/ 9791151 w 9901550"/>
              <a:gd name="connsiteY625" fmla="*/ 218060 h 5927527"/>
              <a:gd name="connsiteX626" fmla="*/ 9791150 w 9901550"/>
              <a:gd name="connsiteY626" fmla="*/ 218057 h 5927527"/>
              <a:gd name="connsiteX627" fmla="*/ 9795442 w 9901550"/>
              <a:gd name="connsiteY627" fmla="*/ 196704 h 5927527"/>
              <a:gd name="connsiteX628" fmla="*/ 9795495 w 9901550"/>
              <a:gd name="connsiteY628" fmla="*/ 196626 h 5927527"/>
              <a:gd name="connsiteX629" fmla="*/ 9795533 w 9901550"/>
              <a:gd name="connsiteY629" fmla="*/ 196440 h 5927527"/>
              <a:gd name="connsiteX630" fmla="*/ 9801568 w 9901550"/>
              <a:gd name="connsiteY630" fmla="*/ 187552 h 5927527"/>
              <a:gd name="connsiteX631" fmla="*/ 9807197 w 9901550"/>
              <a:gd name="connsiteY631" fmla="*/ 179143 h 5927527"/>
              <a:gd name="connsiteX632" fmla="*/ 9807349 w 9901550"/>
              <a:gd name="connsiteY632" fmla="*/ 179040 h 5927527"/>
              <a:gd name="connsiteX633" fmla="*/ 9807437 w 9901550"/>
              <a:gd name="connsiteY633" fmla="*/ 178909 h 5927527"/>
              <a:gd name="connsiteX634" fmla="*/ 9814685 w 9901550"/>
              <a:gd name="connsiteY634" fmla="*/ 174058 h 5927527"/>
              <a:gd name="connsiteX635" fmla="*/ 9824728 w 9901550"/>
              <a:gd name="connsiteY635" fmla="*/ 167238 h 5927527"/>
              <a:gd name="connsiteX636" fmla="*/ 9824937 w 9901550"/>
              <a:gd name="connsiteY636" fmla="*/ 167196 h 5927527"/>
              <a:gd name="connsiteX637" fmla="*/ 9824999 w 9901550"/>
              <a:gd name="connsiteY637" fmla="*/ 167155 h 5927527"/>
              <a:gd name="connsiteX638" fmla="*/ 9842295 w 9901550"/>
              <a:gd name="connsiteY638" fmla="*/ 163678 h 5927527"/>
              <a:gd name="connsiteX639" fmla="*/ 9289846 w 9901550"/>
              <a:gd name="connsiteY639" fmla="*/ 94817 h 5927527"/>
              <a:gd name="connsiteX640" fmla="*/ 9413086 w 9901550"/>
              <a:gd name="connsiteY640" fmla="*/ 218057 h 5927527"/>
              <a:gd name="connsiteX641" fmla="*/ 9413085 w 9901550"/>
              <a:gd name="connsiteY641" fmla="*/ 218060 h 5927527"/>
              <a:gd name="connsiteX642" fmla="*/ 9413086 w 9901550"/>
              <a:gd name="connsiteY642" fmla="*/ 218064 h 5927527"/>
              <a:gd name="connsiteX643" fmla="*/ 9289846 w 9901550"/>
              <a:gd name="connsiteY643" fmla="*/ 341304 h 5927527"/>
              <a:gd name="connsiteX644" fmla="*/ 9166606 w 9901550"/>
              <a:gd name="connsiteY644" fmla="*/ 218064 h 5927527"/>
              <a:gd name="connsiteX645" fmla="*/ 9166607 w 9901550"/>
              <a:gd name="connsiteY645" fmla="*/ 218060 h 5927527"/>
              <a:gd name="connsiteX646" fmla="*/ 9166606 w 9901550"/>
              <a:gd name="connsiteY646" fmla="*/ 218057 h 5927527"/>
              <a:gd name="connsiteX647" fmla="*/ 9289846 w 9901550"/>
              <a:gd name="connsiteY647" fmla="*/ 94817 h 5927527"/>
              <a:gd name="connsiteX648" fmla="*/ 8726879 w 9901550"/>
              <a:gd name="connsiteY648" fmla="*/ 5061 h 5927527"/>
              <a:gd name="connsiteX649" fmla="*/ 8732902 w 9901550"/>
              <a:gd name="connsiteY649" fmla="*/ 5478 h 5927527"/>
              <a:gd name="connsiteX650" fmla="*/ 8733282 w 9901550"/>
              <a:gd name="connsiteY650" fmla="*/ 5442 h 5927527"/>
              <a:gd name="connsiteX651" fmla="*/ 8735639 w 9901550"/>
              <a:gd name="connsiteY651" fmla="*/ 5668 h 5927527"/>
              <a:gd name="connsiteX652" fmla="*/ 8768536 w 9901550"/>
              <a:gd name="connsiteY652" fmla="*/ 7945 h 5927527"/>
              <a:gd name="connsiteX653" fmla="*/ 8773514 w 9901550"/>
              <a:gd name="connsiteY653" fmla="*/ 9298 h 5927527"/>
              <a:gd name="connsiteX654" fmla="*/ 8773860 w 9901550"/>
              <a:gd name="connsiteY654" fmla="*/ 9331 h 5927527"/>
              <a:gd name="connsiteX655" fmla="*/ 8776342 w 9901550"/>
              <a:gd name="connsiteY655" fmla="*/ 10066 h 5927527"/>
              <a:gd name="connsiteX656" fmla="*/ 8808159 w 9901550"/>
              <a:gd name="connsiteY656" fmla="*/ 18715 h 5927527"/>
              <a:gd name="connsiteX657" fmla="*/ 8812132 w 9901550"/>
              <a:gd name="connsiteY657" fmla="*/ 20673 h 5927527"/>
              <a:gd name="connsiteX658" fmla="*/ 8813230 w 9901550"/>
              <a:gd name="connsiteY658" fmla="*/ 20999 h 5927527"/>
              <a:gd name="connsiteX659" fmla="*/ 8819708 w 9901550"/>
              <a:gd name="connsiteY659" fmla="*/ 24407 h 5927527"/>
              <a:gd name="connsiteX660" fmla="*/ 8844722 w 9901550"/>
              <a:gd name="connsiteY660" fmla="*/ 36737 h 5927527"/>
              <a:gd name="connsiteX661" fmla="*/ 8846819 w 9901550"/>
              <a:gd name="connsiteY661" fmla="*/ 38674 h 5927527"/>
              <a:gd name="connsiteX662" fmla="*/ 8850184 w 9901550"/>
              <a:gd name="connsiteY662" fmla="*/ 40445 h 5927527"/>
              <a:gd name="connsiteX663" fmla="*/ 8883512 w 9901550"/>
              <a:gd name="connsiteY663" fmla="*/ 67669 h 5927527"/>
              <a:gd name="connsiteX664" fmla="*/ 8891917 w 9901550"/>
              <a:gd name="connsiteY664" fmla="*/ 80327 h 5927527"/>
              <a:gd name="connsiteX665" fmla="*/ 8904553 w 9901550"/>
              <a:gd name="connsiteY665" fmla="*/ 91997 h 5927527"/>
              <a:gd name="connsiteX666" fmla="*/ 8915563 w 9901550"/>
              <a:gd name="connsiteY666" fmla="*/ 115935 h 5927527"/>
              <a:gd name="connsiteX667" fmla="*/ 8930183 w 9901550"/>
              <a:gd name="connsiteY667" fmla="*/ 137952 h 5927527"/>
              <a:gd name="connsiteX668" fmla="*/ 8933479 w 9901550"/>
              <a:gd name="connsiteY668" fmla="*/ 154886 h 5927527"/>
              <a:gd name="connsiteX669" fmla="*/ 8939806 w 9901550"/>
              <a:gd name="connsiteY669" fmla="*/ 168642 h 5927527"/>
              <a:gd name="connsiteX670" fmla="*/ 8945445 w 9901550"/>
              <a:gd name="connsiteY670" fmla="*/ 211305 h 5927527"/>
              <a:gd name="connsiteX671" fmla="*/ 8945186 w 9901550"/>
              <a:gd name="connsiteY671" fmla="*/ 215047 h 5927527"/>
              <a:gd name="connsiteX672" fmla="*/ 8945741 w 9901550"/>
              <a:gd name="connsiteY672" fmla="*/ 217900 h 5927527"/>
              <a:gd name="connsiteX673" fmla="*/ 8944573 w 9901550"/>
              <a:gd name="connsiteY673" fmla="*/ 223902 h 5927527"/>
              <a:gd name="connsiteX674" fmla="*/ 8942561 w 9901550"/>
              <a:gd name="connsiteY674" fmla="*/ 252962 h 5927527"/>
              <a:gd name="connsiteX675" fmla="*/ 8935051 w 9901550"/>
              <a:gd name="connsiteY675" fmla="*/ 272834 h 5927527"/>
              <a:gd name="connsiteX676" fmla="*/ 8930184 w 9901550"/>
              <a:gd name="connsiteY676" fmla="*/ 297848 h 5927527"/>
              <a:gd name="connsiteX677" fmla="*/ 8919541 w 9901550"/>
              <a:gd name="connsiteY677" fmla="*/ 313876 h 5927527"/>
              <a:gd name="connsiteX678" fmla="*/ 8913769 w 9901550"/>
              <a:gd name="connsiteY678" fmla="*/ 329149 h 5927527"/>
              <a:gd name="connsiteX679" fmla="*/ 8898219 w 9901550"/>
              <a:gd name="connsiteY679" fmla="*/ 345985 h 5927527"/>
              <a:gd name="connsiteX680" fmla="*/ 8883513 w 9901550"/>
              <a:gd name="connsiteY680" fmla="*/ 368131 h 5927527"/>
              <a:gd name="connsiteX681" fmla="*/ 8860106 w 9901550"/>
              <a:gd name="connsiteY681" fmla="*/ 387251 h 5927527"/>
              <a:gd name="connsiteX682" fmla="*/ 8858509 w 9901550"/>
              <a:gd name="connsiteY682" fmla="*/ 388980 h 5927527"/>
              <a:gd name="connsiteX683" fmla="*/ 8856639 w 9901550"/>
              <a:gd name="connsiteY683" fmla="*/ 390083 h 5927527"/>
              <a:gd name="connsiteX684" fmla="*/ 8850184 w 9901550"/>
              <a:gd name="connsiteY684" fmla="*/ 395355 h 5927527"/>
              <a:gd name="connsiteX685" fmla="*/ 8827118 w 9901550"/>
              <a:gd name="connsiteY685" fmla="*/ 407493 h 5927527"/>
              <a:gd name="connsiteX686" fmla="*/ 8822541 w 9901550"/>
              <a:gd name="connsiteY686" fmla="*/ 410192 h 5927527"/>
              <a:gd name="connsiteX687" fmla="*/ 8820935 w 9901550"/>
              <a:gd name="connsiteY687" fmla="*/ 410747 h 5927527"/>
              <a:gd name="connsiteX688" fmla="*/ 8813231 w 9901550"/>
              <a:gd name="connsiteY688" fmla="*/ 414801 h 5927527"/>
              <a:gd name="connsiteX689" fmla="*/ 8784638 w 9901550"/>
              <a:gd name="connsiteY689" fmla="*/ 423275 h 5927527"/>
              <a:gd name="connsiteX690" fmla="*/ 8781862 w 9901550"/>
              <a:gd name="connsiteY690" fmla="*/ 424233 h 5927527"/>
              <a:gd name="connsiteX691" fmla="*/ 8781037 w 9901550"/>
              <a:gd name="connsiteY691" fmla="*/ 424342 h 5927527"/>
              <a:gd name="connsiteX692" fmla="*/ 8773861 w 9901550"/>
              <a:gd name="connsiteY692" fmla="*/ 426469 h 5927527"/>
              <a:gd name="connsiteX693" fmla="*/ 8741428 w 9901550"/>
              <a:gd name="connsiteY693" fmla="*/ 429577 h 5927527"/>
              <a:gd name="connsiteX694" fmla="*/ 8739200 w 9901550"/>
              <a:gd name="connsiteY694" fmla="*/ 429872 h 5927527"/>
              <a:gd name="connsiteX695" fmla="*/ 8738709 w 9901550"/>
              <a:gd name="connsiteY695" fmla="*/ 429838 h 5927527"/>
              <a:gd name="connsiteX696" fmla="*/ 8733283 w 9901550"/>
              <a:gd name="connsiteY696" fmla="*/ 430358 h 5927527"/>
              <a:gd name="connsiteX697" fmla="*/ 8699647 w 9901550"/>
              <a:gd name="connsiteY697" fmla="*/ 427134 h 5927527"/>
              <a:gd name="connsiteX698" fmla="*/ 8697543 w 9901550"/>
              <a:gd name="connsiteY698" fmla="*/ 426988 h 5927527"/>
              <a:gd name="connsiteX699" fmla="*/ 8697225 w 9901550"/>
              <a:gd name="connsiteY699" fmla="*/ 426902 h 5927527"/>
              <a:gd name="connsiteX700" fmla="*/ 8692704 w 9901550"/>
              <a:gd name="connsiteY700" fmla="*/ 426469 h 5927527"/>
              <a:gd name="connsiteX701" fmla="*/ 8660296 w 9901550"/>
              <a:gd name="connsiteY701" fmla="*/ 416864 h 5927527"/>
              <a:gd name="connsiteX702" fmla="*/ 8657920 w 9901550"/>
              <a:gd name="connsiteY702" fmla="*/ 416218 h 5927527"/>
              <a:gd name="connsiteX703" fmla="*/ 8657623 w 9901550"/>
              <a:gd name="connsiteY703" fmla="*/ 416072 h 5927527"/>
              <a:gd name="connsiteX704" fmla="*/ 8653334 w 9901550"/>
              <a:gd name="connsiteY704" fmla="*/ 414801 h 5927527"/>
              <a:gd name="connsiteX705" fmla="*/ 8628036 w 9901550"/>
              <a:gd name="connsiteY705" fmla="*/ 401488 h 5927527"/>
              <a:gd name="connsiteX706" fmla="*/ 8621357 w 9901550"/>
              <a:gd name="connsiteY706" fmla="*/ 398196 h 5927527"/>
              <a:gd name="connsiteX707" fmla="*/ 8620797 w 9901550"/>
              <a:gd name="connsiteY707" fmla="*/ 397678 h 5927527"/>
              <a:gd name="connsiteX708" fmla="*/ 8616381 w 9901550"/>
              <a:gd name="connsiteY708" fmla="*/ 395354 h 5927527"/>
              <a:gd name="connsiteX709" fmla="*/ 8583052 w 9901550"/>
              <a:gd name="connsiteY709" fmla="*/ 368130 h 5927527"/>
              <a:gd name="connsiteX710" fmla="*/ 8573928 w 9901550"/>
              <a:gd name="connsiteY710" fmla="*/ 354390 h 5927527"/>
              <a:gd name="connsiteX711" fmla="*/ 8561526 w 9901550"/>
              <a:gd name="connsiteY711" fmla="*/ 342936 h 5927527"/>
              <a:gd name="connsiteX712" fmla="*/ 8550719 w 9901550"/>
              <a:gd name="connsiteY712" fmla="*/ 319439 h 5927527"/>
              <a:gd name="connsiteX713" fmla="*/ 8536381 w 9901550"/>
              <a:gd name="connsiteY713" fmla="*/ 297848 h 5927527"/>
              <a:gd name="connsiteX714" fmla="*/ 8533150 w 9901550"/>
              <a:gd name="connsiteY714" fmla="*/ 281241 h 5927527"/>
              <a:gd name="connsiteX715" fmla="*/ 8526273 w 9901550"/>
              <a:gd name="connsiteY715" fmla="*/ 266289 h 5927527"/>
              <a:gd name="connsiteX716" fmla="*/ 8520634 w 9901550"/>
              <a:gd name="connsiteY716" fmla="*/ 223627 h 5927527"/>
              <a:gd name="connsiteX717" fmla="*/ 8520977 w 9901550"/>
              <a:gd name="connsiteY717" fmla="*/ 218681 h 5927527"/>
              <a:gd name="connsiteX718" fmla="*/ 8520825 w 9901550"/>
              <a:gd name="connsiteY718" fmla="*/ 217900 h 5927527"/>
              <a:gd name="connsiteX719" fmla="*/ 8521144 w 9901550"/>
              <a:gd name="connsiteY719" fmla="*/ 216256 h 5927527"/>
              <a:gd name="connsiteX720" fmla="*/ 8523518 w 9901550"/>
              <a:gd name="connsiteY720" fmla="*/ 181970 h 5927527"/>
              <a:gd name="connsiteX721" fmla="*/ 8532378 w 9901550"/>
              <a:gd name="connsiteY721" fmla="*/ 158525 h 5927527"/>
              <a:gd name="connsiteX722" fmla="*/ 8536381 w 9901550"/>
              <a:gd name="connsiteY722" fmla="*/ 137951 h 5927527"/>
              <a:gd name="connsiteX723" fmla="*/ 8545135 w 9901550"/>
              <a:gd name="connsiteY723" fmla="*/ 124769 h 5927527"/>
              <a:gd name="connsiteX724" fmla="*/ 8552310 w 9901550"/>
              <a:gd name="connsiteY724" fmla="*/ 105784 h 5927527"/>
              <a:gd name="connsiteX725" fmla="*/ 8571639 w 9901550"/>
              <a:gd name="connsiteY725" fmla="*/ 84856 h 5927527"/>
              <a:gd name="connsiteX726" fmla="*/ 8583052 w 9901550"/>
              <a:gd name="connsiteY726" fmla="*/ 67669 h 5927527"/>
              <a:gd name="connsiteX727" fmla="*/ 8601218 w 9901550"/>
              <a:gd name="connsiteY727" fmla="*/ 52830 h 5927527"/>
              <a:gd name="connsiteX728" fmla="*/ 8607570 w 9901550"/>
              <a:gd name="connsiteY728" fmla="*/ 45953 h 5927527"/>
              <a:gd name="connsiteX729" fmla="*/ 8615007 w 9901550"/>
              <a:gd name="connsiteY729" fmla="*/ 41567 h 5927527"/>
              <a:gd name="connsiteX730" fmla="*/ 8616381 w 9901550"/>
              <a:gd name="connsiteY730" fmla="*/ 40445 h 5927527"/>
              <a:gd name="connsiteX731" fmla="*/ 8621291 w 9901550"/>
              <a:gd name="connsiteY731" fmla="*/ 37861 h 5927527"/>
              <a:gd name="connsiteX732" fmla="*/ 8643537 w 9901550"/>
              <a:gd name="connsiteY732" fmla="*/ 24741 h 5927527"/>
              <a:gd name="connsiteX733" fmla="*/ 8651343 w 9901550"/>
              <a:gd name="connsiteY733" fmla="*/ 22046 h 5927527"/>
              <a:gd name="connsiteX734" fmla="*/ 8653334 w 9901550"/>
              <a:gd name="connsiteY734" fmla="*/ 20998 h 5927527"/>
              <a:gd name="connsiteX735" fmla="*/ 8660724 w 9901550"/>
              <a:gd name="connsiteY735" fmla="*/ 18809 h 5927527"/>
              <a:gd name="connsiteX736" fmla="*/ 8684216 w 9901550"/>
              <a:gd name="connsiteY736" fmla="*/ 10700 h 5927527"/>
              <a:gd name="connsiteX737" fmla="*/ 8691197 w 9901550"/>
              <a:gd name="connsiteY737" fmla="*/ 9777 h 5927527"/>
              <a:gd name="connsiteX738" fmla="*/ 8692704 w 9901550"/>
              <a:gd name="connsiteY738" fmla="*/ 9331 h 5927527"/>
              <a:gd name="connsiteX739" fmla="*/ 8699514 w 9901550"/>
              <a:gd name="connsiteY739" fmla="*/ 8678 h 5927527"/>
              <a:gd name="connsiteX740" fmla="*/ 0 w 9901550"/>
              <a:gd name="connsiteY740" fmla="*/ 0 h 5927527"/>
              <a:gd name="connsiteX741" fmla="*/ 8399148 w 9901550"/>
              <a:gd name="connsiteY741" fmla="*/ 0 h 5927527"/>
              <a:gd name="connsiteX742" fmla="*/ 8442653 w 9901550"/>
              <a:gd name="connsiteY742" fmla="*/ 52212 h 5927527"/>
              <a:gd name="connsiteX743" fmla="*/ 8490071 w 9901550"/>
              <a:gd name="connsiteY743" fmla="*/ 218056 h 5927527"/>
              <a:gd name="connsiteX744" fmla="*/ 8315481 w 9901550"/>
              <a:gd name="connsiteY744" fmla="*/ 496629 h 5927527"/>
              <a:gd name="connsiteX745" fmla="*/ 8484936 w 9901550"/>
              <a:gd name="connsiteY745" fmla="*/ 771993 h 5927527"/>
              <a:gd name="connsiteX746" fmla="*/ 8280820 w 9901550"/>
              <a:gd name="connsiteY746" fmla="*/ 1062120 h 5927527"/>
              <a:gd name="connsiteX747" fmla="*/ 8463112 w 9901550"/>
              <a:gd name="connsiteY747" fmla="*/ 1328498 h 5927527"/>
              <a:gd name="connsiteX748" fmla="*/ 8176837 w 9901550"/>
              <a:gd name="connsiteY748" fmla="*/ 1614774 h 5927527"/>
              <a:gd name="connsiteX749" fmla="*/ 7950897 w 9901550"/>
              <a:gd name="connsiteY749" fmla="*/ 1503730 h 5927527"/>
              <a:gd name="connsiteX750" fmla="*/ 7846913 w 9901550"/>
              <a:gd name="connsiteY750" fmla="*/ 1626328 h 5927527"/>
              <a:gd name="connsiteX751" fmla="*/ 7946404 w 9901550"/>
              <a:gd name="connsiteY751" fmla="*/ 1775243 h 5927527"/>
              <a:gd name="connsiteX752" fmla="*/ 8176837 w 9901550"/>
              <a:gd name="connsiteY752" fmla="*/ 1629537 h 5927527"/>
              <a:gd name="connsiteX753" fmla="*/ 8432302 w 9901550"/>
              <a:gd name="connsiteY753" fmla="*/ 1885003 h 5927527"/>
              <a:gd name="connsiteX754" fmla="*/ 8176837 w 9901550"/>
              <a:gd name="connsiteY754" fmla="*/ 2140469 h 5927527"/>
              <a:gd name="connsiteX755" fmla="*/ 7946404 w 9901550"/>
              <a:gd name="connsiteY755" fmla="*/ 1994764 h 5927527"/>
              <a:gd name="connsiteX756" fmla="*/ 7786577 w 9901550"/>
              <a:gd name="connsiteY756" fmla="*/ 2186684 h 5927527"/>
              <a:gd name="connsiteX757" fmla="*/ 7925222 w 9901550"/>
              <a:gd name="connsiteY757" fmla="*/ 2442150 h 5927527"/>
              <a:gd name="connsiteX758" fmla="*/ 7620331 w 9901550"/>
              <a:gd name="connsiteY758" fmla="*/ 2747041 h 5927527"/>
              <a:gd name="connsiteX759" fmla="*/ 7387331 w 9901550"/>
              <a:gd name="connsiteY759" fmla="*/ 2638564 h 5927527"/>
              <a:gd name="connsiteX760" fmla="*/ 7280780 w 9901550"/>
              <a:gd name="connsiteY760" fmla="*/ 2752175 h 5927527"/>
              <a:gd name="connsiteX761" fmla="*/ 7382838 w 9901550"/>
              <a:gd name="connsiteY761" fmla="*/ 2920347 h 5927527"/>
              <a:gd name="connsiteX762" fmla="*/ 7619690 w 9901550"/>
              <a:gd name="connsiteY762" fmla="*/ 2749608 h 5927527"/>
              <a:gd name="connsiteX763" fmla="*/ 7870021 w 9901550"/>
              <a:gd name="connsiteY763" fmla="*/ 2999939 h 5927527"/>
              <a:gd name="connsiteX764" fmla="*/ 7619690 w 9901550"/>
              <a:gd name="connsiteY764" fmla="*/ 3250270 h 5927527"/>
              <a:gd name="connsiteX765" fmla="*/ 7382838 w 9901550"/>
              <a:gd name="connsiteY765" fmla="*/ 3079531 h 5927527"/>
              <a:gd name="connsiteX766" fmla="*/ 7171019 w 9901550"/>
              <a:gd name="connsiteY766" fmla="*/ 3311890 h 5927527"/>
              <a:gd name="connsiteX767" fmla="*/ 7331488 w 9901550"/>
              <a:gd name="connsiteY767" fmla="*/ 3557728 h 5927527"/>
              <a:gd name="connsiteX768" fmla="*/ 7063185 w 9901550"/>
              <a:gd name="connsiteY768" fmla="*/ 3826031 h 5927527"/>
              <a:gd name="connsiteX769" fmla="*/ 6818631 w 9901550"/>
              <a:gd name="connsiteY769" fmla="*/ 3668130 h 5927527"/>
              <a:gd name="connsiteX770" fmla="*/ 6599751 w 9901550"/>
              <a:gd name="connsiteY770" fmla="*/ 3875455 h 5927527"/>
              <a:gd name="connsiteX771" fmla="*/ 6763429 w 9901550"/>
              <a:gd name="connsiteY771" fmla="*/ 4114233 h 5927527"/>
              <a:gd name="connsiteX772" fmla="*/ 6506680 w 9901550"/>
              <a:gd name="connsiteY772" fmla="*/ 4370982 h 5927527"/>
              <a:gd name="connsiteX773" fmla="*/ 6257633 w 9901550"/>
              <a:gd name="connsiteY773" fmla="*/ 4174569 h 5927527"/>
              <a:gd name="connsiteX774" fmla="*/ 5950176 w 9901550"/>
              <a:gd name="connsiteY774" fmla="*/ 4427467 h 5927527"/>
              <a:gd name="connsiteX775" fmla="*/ 5697918 w 9901550"/>
              <a:gd name="connsiteY775" fmla="*/ 4300376 h 5927527"/>
              <a:gd name="connsiteX776" fmla="*/ 5536166 w 9901550"/>
              <a:gd name="connsiteY776" fmla="*/ 4441589 h 5927527"/>
              <a:gd name="connsiteX777" fmla="*/ 5663899 w 9901550"/>
              <a:gd name="connsiteY777" fmla="*/ 4671380 h 5927527"/>
              <a:gd name="connsiteX778" fmla="*/ 5393671 w 9901550"/>
              <a:gd name="connsiteY778" fmla="*/ 4941609 h 5927527"/>
              <a:gd name="connsiteX779" fmla="*/ 5133711 w 9901550"/>
              <a:gd name="connsiteY779" fmla="*/ 4743911 h 5927527"/>
              <a:gd name="connsiteX780" fmla="*/ 4837165 w 9901550"/>
              <a:gd name="connsiteY780" fmla="*/ 4976270 h 5927527"/>
              <a:gd name="connsiteX781" fmla="*/ 4571430 w 9901550"/>
              <a:gd name="connsiteY781" fmla="*/ 4820936 h 5927527"/>
              <a:gd name="connsiteX782" fmla="*/ 4280660 w 9901550"/>
              <a:gd name="connsiteY782" fmla="*/ 4998093 h 5927527"/>
              <a:gd name="connsiteX783" fmla="*/ 4007863 w 9901550"/>
              <a:gd name="connsiteY783" fmla="*/ 4851105 h 5927527"/>
              <a:gd name="connsiteX784" fmla="*/ 3796045 w 9901550"/>
              <a:gd name="connsiteY784" fmla="*/ 4999377 h 5927527"/>
              <a:gd name="connsiteX785" fmla="*/ 3962932 w 9901550"/>
              <a:gd name="connsiteY785" fmla="*/ 5227885 h 5927527"/>
              <a:gd name="connsiteX786" fmla="*/ 3723513 w 9901550"/>
              <a:gd name="connsiteY786" fmla="*/ 5467304 h 5927527"/>
              <a:gd name="connsiteX787" fmla="*/ 3484094 w 9901550"/>
              <a:gd name="connsiteY787" fmla="*/ 5227885 h 5927527"/>
              <a:gd name="connsiteX788" fmla="*/ 3650981 w 9901550"/>
              <a:gd name="connsiteY788" fmla="*/ 4999377 h 5927527"/>
              <a:gd name="connsiteX789" fmla="*/ 3444939 w 9901550"/>
              <a:gd name="connsiteY789" fmla="*/ 4859449 h 5927527"/>
              <a:gd name="connsiteX790" fmla="*/ 3238898 w 9901550"/>
              <a:gd name="connsiteY790" fmla="*/ 4999377 h 5927527"/>
              <a:gd name="connsiteX791" fmla="*/ 3405785 w 9901550"/>
              <a:gd name="connsiteY791" fmla="*/ 5227885 h 5927527"/>
              <a:gd name="connsiteX792" fmla="*/ 3166366 w 9901550"/>
              <a:gd name="connsiteY792" fmla="*/ 5467304 h 5927527"/>
              <a:gd name="connsiteX793" fmla="*/ 2926947 w 9901550"/>
              <a:gd name="connsiteY793" fmla="*/ 5227885 h 5927527"/>
              <a:gd name="connsiteX794" fmla="*/ 3093834 w 9901550"/>
              <a:gd name="connsiteY794" fmla="*/ 4999377 h 5927527"/>
              <a:gd name="connsiteX795" fmla="*/ 2882016 w 9901550"/>
              <a:gd name="connsiteY795" fmla="*/ 4851105 h 5927527"/>
              <a:gd name="connsiteX796" fmla="*/ 2609219 w 9901550"/>
              <a:gd name="connsiteY796" fmla="*/ 4998093 h 5927527"/>
              <a:gd name="connsiteX797" fmla="*/ 2318450 w 9901550"/>
              <a:gd name="connsiteY797" fmla="*/ 4820936 h 5927527"/>
              <a:gd name="connsiteX798" fmla="*/ 2052714 w 9901550"/>
              <a:gd name="connsiteY798" fmla="*/ 4976270 h 5927527"/>
              <a:gd name="connsiteX799" fmla="*/ 1756168 w 9901550"/>
              <a:gd name="connsiteY799" fmla="*/ 4743911 h 5927527"/>
              <a:gd name="connsiteX800" fmla="*/ 1496209 w 9901550"/>
              <a:gd name="connsiteY800" fmla="*/ 4941609 h 5927527"/>
              <a:gd name="connsiteX801" fmla="*/ 1225980 w 9901550"/>
              <a:gd name="connsiteY801" fmla="*/ 4671380 h 5927527"/>
              <a:gd name="connsiteX802" fmla="*/ 1353713 w 9901550"/>
              <a:gd name="connsiteY802" fmla="*/ 4441589 h 5927527"/>
              <a:gd name="connsiteX803" fmla="*/ 1191961 w 9901550"/>
              <a:gd name="connsiteY803" fmla="*/ 4300376 h 5927527"/>
              <a:gd name="connsiteX804" fmla="*/ 939704 w 9901550"/>
              <a:gd name="connsiteY804" fmla="*/ 4427467 h 5927527"/>
              <a:gd name="connsiteX805" fmla="*/ 632246 w 9901550"/>
              <a:gd name="connsiteY805" fmla="*/ 4174569 h 5927527"/>
              <a:gd name="connsiteX806" fmla="*/ 383199 w 9901550"/>
              <a:gd name="connsiteY806" fmla="*/ 4370982 h 5927527"/>
              <a:gd name="connsiteX807" fmla="*/ 126449 w 9901550"/>
              <a:gd name="connsiteY807" fmla="*/ 4114233 h 5927527"/>
              <a:gd name="connsiteX808" fmla="*/ 290127 w 9901550"/>
              <a:gd name="connsiteY808" fmla="*/ 3875455 h 5927527"/>
              <a:gd name="connsiteX809" fmla="*/ 71890 w 9901550"/>
              <a:gd name="connsiteY809" fmla="*/ 3670698 h 5927527"/>
              <a:gd name="connsiteX810" fmla="*/ 0 w 9901550"/>
              <a:gd name="connsiteY810" fmla="*/ 3764411 h 5927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Lst>
            <a:rect l="l" t="t" r="r" b="b"/>
            <a:pathLst>
              <a:path w="9901550" h="5927527">
                <a:moveTo>
                  <a:pt x="7063184" y="5754862"/>
                </a:moveTo>
                <a:cubicBezTo>
                  <a:pt x="7079231" y="5754862"/>
                  <a:pt x="7092710" y="5768341"/>
                  <a:pt x="7092710" y="5784388"/>
                </a:cubicBezTo>
                <a:lnTo>
                  <a:pt x="7092578" y="5784710"/>
                </a:lnTo>
                <a:lnTo>
                  <a:pt x="7092710" y="5785031"/>
                </a:lnTo>
                <a:cubicBezTo>
                  <a:pt x="7092710" y="5801078"/>
                  <a:pt x="7079231" y="5814557"/>
                  <a:pt x="7063184" y="5814557"/>
                </a:cubicBezTo>
                <a:cubicBezTo>
                  <a:pt x="7046495" y="5814557"/>
                  <a:pt x="7033658" y="5801078"/>
                  <a:pt x="7033658" y="5785031"/>
                </a:cubicBezTo>
                <a:lnTo>
                  <a:pt x="7033792" y="5784710"/>
                </a:lnTo>
                <a:lnTo>
                  <a:pt x="7033658" y="5784388"/>
                </a:lnTo>
                <a:cubicBezTo>
                  <a:pt x="7033658" y="5768341"/>
                  <a:pt x="7046495" y="5754862"/>
                  <a:pt x="7063184" y="5754862"/>
                </a:cubicBezTo>
                <a:close/>
                <a:moveTo>
                  <a:pt x="6506679" y="5734964"/>
                </a:moveTo>
                <a:cubicBezTo>
                  <a:pt x="6534280" y="5734964"/>
                  <a:pt x="6556104" y="5757430"/>
                  <a:pt x="6556104" y="5784388"/>
                </a:cubicBezTo>
                <a:cubicBezTo>
                  <a:pt x="6556104" y="5797868"/>
                  <a:pt x="6550648" y="5810224"/>
                  <a:pt x="6541742" y="5819210"/>
                </a:cubicBezTo>
                <a:lnTo>
                  <a:pt x="6541546" y="5819344"/>
                </a:lnTo>
                <a:lnTo>
                  <a:pt x="6541501" y="5819451"/>
                </a:lnTo>
                <a:lnTo>
                  <a:pt x="6534410" y="5824195"/>
                </a:lnTo>
                <a:lnTo>
                  <a:pt x="6526046" y="5829882"/>
                </a:lnTo>
                <a:lnTo>
                  <a:pt x="6525851" y="5829921"/>
                </a:lnTo>
                <a:lnTo>
                  <a:pt x="6525775" y="5829972"/>
                </a:lnTo>
                <a:cubicBezTo>
                  <a:pt x="6519877" y="5832449"/>
                  <a:pt x="6513418" y="5833813"/>
                  <a:pt x="6506679" y="5833813"/>
                </a:cubicBezTo>
                <a:cubicBezTo>
                  <a:pt x="6499939" y="5833813"/>
                  <a:pt x="6493481" y="5832449"/>
                  <a:pt x="6487583" y="5829972"/>
                </a:cubicBezTo>
                <a:lnTo>
                  <a:pt x="6487508" y="5829921"/>
                </a:lnTo>
                <a:lnTo>
                  <a:pt x="6487312" y="5829882"/>
                </a:lnTo>
                <a:lnTo>
                  <a:pt x="6478943" y="5824192"/>
                </a:lnTo>
                <a:lnTo>
                  <a:pt x="6471858" y="5819451"/>
                </a:lnTo>
                <a:lnTo>
                  <a:pt x="6471813" y="5819344"/>
                </a:lnTo>
                <a:lnTo>
                  <a:pt x="6471617" y="5819210"/>
                </a:lnTo>
                <a:cubicBezTo>
                  <a:pt x="6462711" y="5810224"/>
                  <a:pt x="6457255" y="5797868"/>
                  <a:pt x="6457255" y="5784388"/>
                </a:cubicBezTo>
                <a:cubicBezTo>
                  <a:pt x="6457255" y="5770909"/>
                  <a:pt x="6462711" y="5758553"/>
                  <a:pt x="6471617" y="5749567"/>
                </a:cubicBezTo>
                <a:lnTo>
                  <a:pt x="6471813" y="5749434"/>
                </a:lnTo>
                <a:lnTo>
                  <a:pt x="6471858" y="5749326"/>
                </a:lnTo>
                <a:lnTo>
                  <a:pt x="6478944" y="5744586"/>
                </a:lnTo>
                <a:lnTo>
                  <a:pt x="6487312" y="5738896"/>
                </a:lnTo>
                <a:lnTo>
                  <a:pt x="6487508" y="5738856"/>
                </a:lnTo>
                <a:lnTo>
                  <a:pt x="6487583" y="5738806"/>
                </a:lnTo>
                <a:cubicBezTo>
                  <a:pt x="6493481" y="5736328"/>
                  <a:pt x="6499939" y="5734964"/>
                  <a:pt x="6506679" y="5734964"/>
                </a:cubicBezTo>
                <a:close/>
                <a:moveTo>
                  <a:pt x="5949532" y="5712499"/>
                </a:moveTo>
                <a:cubicBezTo>
                  <a:pt x="5989328" y="5712499"/>
                  <a:pt x="6022064" y="5744593"/>
                  <a:pt x="6021422" y="5784389"/>
                </a:cubicBezTo>
                <a:lnTo>
                  <a:pt x="6021357" y="5784710"/>
                </a:lnTo>
                <a:lnTo>
                  <a:pt x="6021422" y="5785031"/>
                </a:lnTo>
                <a:cubicBezTo>
                  <a:pt x="6022064" y="5824186"/>
                  <a:pt x="5989328" y="5856921"/>
                  <a:pt x="5949532" y="5856921"/>
                </a:cubicBezTo>
                <a:cubicBezTo>
                  <a:pt x="5909736" y="5856921"/>
                  <a:pt x="5877643" y="5824827"/>
                  <a:pt x="5877643" y="5785031"/>
                </a:cubicBezTo>
                <a:lnTo>
                  <a:pt x="5877706" y="5784710"/>
                </a:lnTo>
                <a:lnTo>
                  <a:pt x="5877643" y="5784389"/>
                </a:lnTo>
                <a:cubicBezTo>
                  <a:pt x="5877643" y="5744593"/>
                  <a:pt x="5909736" y="5712499"/>
                  <a:pt x="5949532" y="5712499"/>
                </a:cubicBezTo>
                <a:close/>
                <a:moveTo>
                  <a:pt x="5393027" y="5688107"/>
                </a:moveTo>
                <a:cubicBezTo>
                  <a:pt x="5446303" y="5688107"/>
                  <a:pt x="5489308" y="5731113"/>
                  <a:pt x="5489308" y="5784388"/>
                </a:cubicBezTo>
                <a:cubicBezTo>
                  <a:pt x="5489308" y="5837664"/>
                  <a:pt x="5446303" y="5880669"/>
                  <a:pt x="5393027" y="5880669"/>
                </a:cubicBezTo>
                <a:cubicBezTo>
                  <a:pt x="5339752" y="5880669"/>
                  <a:pt x="5296746" y="5837664"/>
                  <a:pt x="5296746" y="5784388"/>
                </a:cubicBezTo>
                <a:cubicBezTo>
                  <a:pt x="5296746" y="5731113"/>
                  <a:pt x="5339752" y="5688107"/>
                  <a:pt x="5393027" y="5688107"/>
                </a:cubicBezTo>
                <a:close/>
                <a:moveTo>
                  <a:pt x="4836522" y="5666926"/>
                </a:moveTo>
                <a:cubicBezTo>
                  <a:pt x="4901351" y="5666926"/>
                  <a:pt x="4953985" y="5719559"/>
                  <a:pt x="4953985" y="5784389"/>
                </a:cubicBezTo>
                <a:cubicBezTo>
                  <a:pt x="4953985" y="5849218"/>
                  <a:pt x="4901351" y="5901852"/>
                  <a:pt x="4836522" y="5901852"/>
                </a:cubicBezTo>
                <a:cubicBezTo>
                  <a:pt x="4771693" y="5901852"/>
                  <a:pt x="4719059" y="5849218"/>
                  <a:pt x="4719059" y="5784389"/>
                </a:cubicBezTo>
                <a:cubicBezTo>
                  <a:pt x="4719059" y="5719559"/>
                  <a:pt x="4771693" y="5666926"/>
                  <a:pt x="4836522" y="5666926"/>
                </a:cubicBezTo>
                <a:close/>
                <a:moveTo>
                  <a:pt x="4280017" y="5651521"/>
                </a:moveTo>
                <a:cubicBezTo>
                  <a:pt x="4353191" y="5651521"/>
                  <a:pt x="4412885" y="5711216"/>
                  <a:pt x="4412885" y="5784389"/>
                </a:cubicBezTo>
                <a:lnTo>
                  <a:pt x="4412821" y="5784710"/>
                </a:lnTo>
                <a:lnTo>
                  <a:pt x="4412885" y="5785031"/>
                </a:lnTo>
                <a:cubicBezTo>
                  <a:pt x="4412885" y="5858204"/>
                  <a:pt x="4353191" y="5917899"/>
                  <a:pt x="4280017" y="5917899"/>
                </a:cubicBezTo>
                <a:cubicBezTo>
                  <a:pt x="4206202" y="5917899"/>
                  <a:pt x="4147172" y="5858204"/>
                  <a:pt x="4147172" y="5785031"/>
                </a:cubicBezTo>
                <a:lnTo>
                  <a:pt x="4147232" y="5784737"/>
                </a:lnTo>
                <a:lnTo>
                  <a:pt x="4147162" y="5784389"/>
                </a:lnTo>
                <a:cubicBezTo>
                  <a:pt x="4147162" y="5711216"/>
                  <a:pt x="4206202" y="5651521"/>
                  <a:pt x="4280017" y="5651521"/>
                </a:cubicBezTo>
                <a:close/>
                <a:moveTo>
                  <a:pt x="2609875" y="5651521"/>
                </a:moveTo>
                <a:cubicBezTo>
                  <a:pt x="2683050" y="5651521"/>
                  <a:pt x="2742743" y="5711216"/>
                  <a:pt x="2742743" y="5784389"/>
                </a:cubicBezTo>
                <a:lnTo>
                  <a:pt x="2742685" y="5784681"/>
                </a:lnTo>
                <a:lnTo>
                  <a:pt x="2742755" y="5785031"/>
                </a:lnTo>
                <a:cubicBezTo>
                  <a:pt x="2742755" y="5858204"/>
                  <a:pt x="2683062" y="5917899"/>
                  <a:pt x="2609887" y="5917899"/>
                </a:cubicBezTo>
                <a:cubicBezTo>
                  <a:pt x="2536713" y="5917899"/>
                  <a:pt x="2477018" y="5858204"/>
                  <a:pt x="2477018" y="5785031"/>
                </a:cubicBezTo>
                <a:lnTo>
                  <a:pt x="2477077" y="5784741"/>
                </a:lnTo>
                <a:lnTo>
                  <a:pt x="2477007" y="5784389"/>
                </a:lnTo>
                <a:cubicBezTo>
                  <a:pt x="2477007" y="5711216"/>
                  <a:pt x="2536701" y="5651521"/>
                  <a:pt x="2609875" y="5651521"/>
                </a:cubicBezTo>
                <a:close/>
                <a:moveTo>
                  <a:pt x="3722884" y="5641251"/>
                </a:moveTo>
                <a:lnTo>
                  <a:pt x="3722889" y="5641252"/>
                </a:lnTo>
                <a:lnTo>
                  <a:pt x="3722894" y="5641251"/>
                </a:lnTo>
                <a:cubicBezTo>
                  <a:pt x="3801844" y="5641251"/>
                  <a:pt x="3866031" y="5705438"/>
                  <a:pt x="3866031" y="5784388"/>
                </a:cubicBezTo>
                <a:cubicBezTo>
                  <a:pt x="3866031" y="5863339"/>
                  <a:pt x="3801844" y="5927527"/>
                  <a:pt x="3722894" y="5927527"/>
                </a:cubicBezTo>
                <a:lnTo>
                  <a:pt x="3722889" y="5927526"/>
                </a:lnTo>
                <a:lnTo>
                  <a:pt x="3722884" y="5927527"/>
                </a:lnTo>
                <a:cubicBezTo>
                  <a:pt x="3643933" y="5927527"/>
                  <a:pt x="3579747" y="5863339"/>
                  <a:pt x="3579747" y="5784388"/>
                </a:cubicBezTo>
                <a:cubicBezTo>
                  <a:pt x="3579747" y="5705438"/>
                  <a:pt x="3643933" y="5641251"/>
                  <a:pt x="3722884" y="5641251"/>
                </a:cubicBezTo>
                <a:close/>
                <a:moveTo>
                  <a:pt x="3166378" y="5641251"/>
                </a:moveTo>
                <a:lnTo>
                  <a:pt x="3166384" y="5641252"/>
                </a:lnTo>
                <a:lnTo>
                  <a:pt x="3166390" y="5641251"/>
                </a:lnTo>
                <a:cubicBezTo>
                  <a:pt x="3245339" y="5641251"/>
                  <a:pt x="3309527" y="5705438"/>
                  <a:pt x="3309527" y="5784388"/>
                </a:cubicBezTo>
                <a:cubicBezTo>
                  <a:pt x="3309527" y="5863339"/>
                  <a:pt x="3245339" y="5927527"/>
                  <a:pt x="3166390" y="5927527"/>
                </a:cubicBezTo>
                <a:lnTo>
                  <a:pt x="3166384" y="5927526"/>
                </a:lnTo>
                <a:lnTo>
                  <a:pt x="3166378" y="5927527"/>
                </a:lnTo>
                <a:cubicBezTo>
                  <a:pt x="3087428" y="5927527"/>
                  <a:pt x="3023241" y="5863339"/>
                  <a:pt x="3023241" y="5784388"/>
                </a:cubicBezTo>
                <a:cubicBezTo>
                  <a:pt x="3023241" y="5705438"/>
                  <a:pt x="3087428" y="5641251"/>
                  <a:pt x="3166378" y="5641251"/>
                </a:cubicBezTo>
                <a:close/>
                <a:moveTo>
                  <a:pt x="7619689" y="5190013"/>
                </a:moveTo>
                <a:cubicBezTo>
                  <a:pt x="7640871" y="5190013"/>
                  <a:pt x="7657559" y="5206702"/>
                  <a:pt x="7657559" y="5227884"/>
                </a:cubicBezTo>
                <a:cubicBezTo>
                  <a:pt x="7657559" y="5249066"/>
                  <a:pt x="7640871" y="5265754"/>
                  <a:pt x="7619689" y="5265754"/>
                </a:cubicBezTo>
                <a:cubicBezTo>
                  <a:pt x="7609419" y="5265754"/>
                  <a:pt x="7599951" y="5261582"/>
                  <a:pt x="7593051" y="5254763"/>
                </a:cubicBezTo>
                <a:lnTo>
                  <a:pt x="7592980" y="5254592"/>
                </a:lnTo>
                <a:lnTo>
                  <a:pt x="7592810" y="5254521"/>
                </a:lnTo>
                <a:cubicBezTo>
                  <a:pt x="7585990" y="5247621"/>
                  <a:pt x="7581818" y="5238154"/>
                  <a:pt x="7581818" y="5227884"/>
                </a:cubicBezTo>
                <a:cubicBezTo>
                  <a:pt x="7581818" y="5217614"/>
                  <a:pt x="7585990" y="5208147"/>
                  <a:pt x="7592810" y="5201246"/>
                </a:cubicBezTo>
                <a:lnTo>
                  <a:pt x="7592980" y="5201175"/>
                </a:lnTo>
                <a:lnTo>
                  <a:pt x="7593051" y="5201005"/>
                </a:lnTo>
                <a:cubicBezTo>
                  <a:pt x="7599951" y="5194186"/>
                  <a:pt x="7609419" y="5190013"/>
                  <a:pt x="7619689" y="5190013"/>
                </a:cubicBezTo>
                <a:close/>
                <a:moveTo>
                  <a:pt x="7063184" y="5162413"/>
                </a:moveTo>
                <a:cubicBezTo>
                  <a:pt x="7099128" y="5162413"/>
                  <a:pt x="7128655" y="5191939"/>
                  <a:pt x="7128655" y="5227884"/>
                </a:cubicBezTo>
                <a:cubicBezTo>
                  <a:pt x="7128655" y="5263829"/>
                  <a:pt x="7099128" y="5293355"/>
                  <a:pt x="7063184" y="5293355"/>
                </a:cubicBezTo>
                <a:cubicBezTo>
                  <a:pt x="7027239" y="5293355"/>
                  <a:pt x="6997712" y="5263829"/>
                  <a:pt x="6997712" y="5227884"/>
                </a:cubicBezTo>
                <a:cubicBezTo>
                  <a:pt x="6997712" y="5191939"/>
                  <a:pt x="7027239" y="5162413"/>
                  <a:pt x="7063184" y="5162413"/>
                </a:cubicBezTo>
                <a:close/>
                <a:moveTo>
                  <a:pt x="6506679" y="5129035"/>
                </a:moveTo>
                <a:cubicBezTo>
                  <a:pt x="6561238" y="5129035"/>
                  <a:pt x="6605527" y="5173324"/>
                  <a:pt x="6605527" y="5227884"/>
                </a:cubicBezTo>
                <a:cubicBezTo>
                  <a:pt x="6605527" y="5282443"/>
                  <a:pt x="6561238" y="5326733"/>
                  <a:pt x="6506679" y="5326733"/>
                </a:cubicBezTo>
                <a:cubicBezTo>
                  <a:pt x="6452119" y="5326733"/>
                  <a:pt x="6407830" y="5282443"/>
                  <a:pt x="6407830" y="5227884"/>
                </a:cubicBezTo>
                <a:cubicBezTo>
                  <a:pt x="6407830" y="5173324"/>
                  <a:pt x="6452119" y="5129035"/>
                  <a:pt x="6506679" y="5129035"/>
                </a:cubicBezTo>
                <a:close/>
                <a:moveTo>
                  <a:pt x="383206" y="5129035"/>
                </a:moveTo>
                <a:lnTo>
                  <a:pt x="383212" y="5129036"/>
                </a:lnTo>
                <a:lnTo>
                  <a:pt x="383217" y="5129035"/>
                </a:lnTo>
                <a:cubicBezTo>
                  <a:pt x="437809" y="5129035"/>
                  <a:pt x="482065" y="5173291"/>
                  <a:pt x="482065" y="5227884"/>
                </a:cubicBezTo>
                <a:cubicBezTo>
                  <a:pt x="482065" y="5282476"/>
                  <a:pt x="437809" y="5326732"/>
                  <a:pt x="383217" y="5326732"/>
                </a:cubicBezTo>
                <a:lnTo>
                  <a:pt x="383212" y="5326731"/>
                </a:lnTo>
                <a:lnTo>
                  <a:pt x="383206" y="5326732"/>
                </a:lnTo>
                <a:cubicBezTo>
                  <a:pt x="328613" y="5326732"/>
                  <a:pt x="284357" y="5282477"/>
                  <a:pt x="284357" y="5227884"/>
                </a:cubicBezTo>
                <a:cubicBezTo>
                  <a:pt x="284357" y="5173291"/>
                  <a:pt x="328613" y="5129035"/>
                  <a:pt x="383206" y="5129035"/>
                </a:cubicBezTo>
                <a:close/>
                <a:moveTo>
                  <a:pt x="5949532" y="5087955"/>
                </a:moveTo>
                <a:cubicBezTo>
                  <a:pt x="6027199" y="5087955"/>
                  <a:pt x="6089460" y="5150859"/>
                  <a:pt x="6089460" y="5227884"/>
                </a:cubicBezTo>
                <a:cubicBezTo>
                  <a:pt x="6089460" y="5304909"/>
                  <a:pt x="6027199" y="5367813"/>
                  <a:pt x="5949532" y="5367813"/>
                </a:cubicBezTo>
                <a:cubicBezTo>
                  <a:pt x="5872508" y="5367813"/>
                  <a:pt x="5809603" y="5304909"/>
                  <a:pt x="5809603" y="5227884"/>
                </a:cubicBezTo>
                <a:cubicBezTo>
                  <a:pt x="5809603" y="5150859"/>
                  <a:pt x="5872508" y="5087955"/>
                  <a:pt x="5949532" y="5087955"/>
                </a:cubicBezTo>
                <a:close/>
                <a:moveTo>
                  <a:pt x="939711" y="5087955"/>
                </a:moveTo>
                <a:lnTo>
                  <a:pt x="939716" y="5087956"/>
                </a:lnTo>
                <a:lnTo>
                  <a:pt x="939721" y="5087955"/>
                </a:lnTo>
                <a:lnTo>
                  <a:pt x="941664" y="5088350"/>
                </a:lnTo>
                <a:lnTo>
                  <a:pt x="994340" y="5098987"/>
                </a:lnTo>
                <a:cubicBezTo>
                  <a:pt x="1027858" y="5113189"/>
                  <a:pt x="1054596" y="5140068"/>
                  <a:pt x="1068697" y="5173525"/>
                </a:cubicBezTo>
                <a:lnTo>
                  <a:pt x="1078245" y="5220960"/>
                </a:lnTo>
                <a:lnTo>
                  <a:pt x="1079650" y="5227884"/>
                </a:lnTo>
                <a:cubicBezTo>
                  <a:pt x="1079650" y="5304909"/>
                  <a:pt x="1017387" y="5367813"/>
                  <a:pt x="939721" y="5367813"/>
                </a:cubicBezTo>
                <a:lnTo>
                  <a:pt x="939716" y="5367812"/>
                </a:lnTo>
                <a:lnTo>
                  <a:pt x="939711" y="5367813"/>
                </a:lnTo>
                <a:cubicBezTo>
                  <a:pt x="862686" y="5367813"/>
                  <a:pt x="799782" y="5304909"/>
                  <a:pt x="799782" y="5227884"/>
                </a:cubicBezTo>
                <a:cubicBezTo>
                  <a:pt x="799782" y="5150859"/>
                  <a:pt x="862686" y="5087955"/>
                  <a:pt x="939711" y="5087955"/>
                </a:cubicBezTo>
                <a:close/>
                <a:moveTo>
                  <a:pt x="1496217" y="5053294"/>
                </a:moveTo>
                <a:lnTo>
                  <a:pt x="1496222" y="5053295"/>
                </a:lnTo>
                <a:lnTo>
                  <a:pt x="1496229" y="5053294"/>
                </a:lnTo>
                <a:lnTo>
                  <a:pt x="1499202" y="5053896"/>
                </a:lnTo>
                <a:lnTo>
                  <a:pt x="1564386" y="5067034"/>
                </a:lnTo>
                <a:cubicBezTo>
                  <a:pt x="1606208" y="5084726"/>
                  <a:pt x="1639565" y="5118223"/>
                  <a:pt x="1657157" y="5159985"/>
                </a:cubicBezTo>
                <a:lnTo>
                  <a:pt x="1668969" y="5218743"/>
                </a:lnTo>
                <a:lnTo>
                  <a:pt x="1670819" y="5227883"/>
                </a:lnTo>
                <a:cubicBezTo>
                  <a:pt x="1670819" y="5324165"/>
                  <a:pt x="1593153" y="5402473"/>
                  <a:pt x="1496229" y="5402473"/>
                </a:cubicBezTo>
                <a:lnTo>
                  <a:pt x="1496222" y="5402472"/>
                </a:lnTo>
                <a:lnTo>
                  <a:pt x="1496217" y="5402473"/>
                </a:lnTo>
                <a:cubicBezTo>
                  <a:pt x="1399935" y="5402473"/>
                  <a:pt x="1321626" y="5324165"/>
                  <a:pt x="1321626" y="5227883"/>
                </a:cubicBezTo>
                <a:cubicBezTo>
                  <a:pt x="1321626" y="5131602"/>
                  <a:pt x="1399935" y="5053294"/>
                  <a:pt x="1496217" y="5053294"/>
                </a:cubicBezTo>
                <a:close/>
                <a:moveTo>
                  <a:pt x="5393028" y="5050727"/>
                </a:moveTo>
                <a:cubicBezTo>
                  <a:pt x="5490593" y="5050727"/>
                  <a:pt x="5570186" y="5129677"/>
                  <a:pt x="5570186" y="5227884"/>
                </a:cubicBezTo>
                <a:cubicBezTo>
                  <a:pt x="5570186" y="5326091"/>
                  <a:pt x="5490593" y="5405041"/>
                  <a:pt x="5393028" y="5405041"/>
                </a:cubicBezTo>
                <a:cubicBezTo>
                  <a:pt x="5368637" y="5405041"/>
                  <a:pt x="5345369" y="5400107"/>
                  <a:pt x="5324187" y="5391171"/>
                </a:cubicBezTo>
                <a:lnTo>
                  <a:pt x="5324111" y="5391120"/>
                </a:lnTo>
                <a:lnTo>
                  <a:pt x="5323916" y="5391081"/>
                </a:lnTo>
                <a:lnTo>
                  <a:pt x="5293618" y="5370612"/>
                </a:lnTo>
                <a:lnTo>
                  <a:pt x="5267862" y="5353290"/>
                </a:lnTo>
                <a:lnTo>
                  <a:pt x="5267765" y="5353147"/>
                </a:lnTo>
                <a:lnTo>
                  <a:pt x="5267621" y="5353050"/>
                </a:lnTo>
                <a:lnTo>
                  <a:pt x="5250298" y="5327292"/>
                </a:lnTo>
                <a:lnTo>
                  <a:pt x="5229831" y="5296996"/>
                </a:lnTo>
                <a:lnTo>
                  <a:pt x="5229791" y="5296801"/>
                </a:lnTo>
                <a:lnTo>
                  <a:pt x="5229740" y="5296725"/>
                </a:lnTo>
                <a:cubicBezTo>
                  <a:pt x="5220804" y="5275543"/>
                  <a:pt x="5215870" y="5252275"/>
                  <a:pt x="5215870" y="5227884"/>
                </a:cubicBezTo>
                <a:cubicBezTo>
                  <a:pt x="5215870" y="5203493"/>
                  <a:pt x="5220804" y="5180225"/>
                  <a:pt x="5229740" y="5159044"/>
                </a:cubicBezTo>
                <a:lnTo>
                  <a:pt x="5229791" y="5158968"/>
                </a:lnTo>
                <a:lnTo>
                  <a:pt x="5229831" y="5158772"/>
                </a:lnTo>
                <a:lnTo>
                  <a:pt x="5250355" y="5128394"/>
                </a:lnTo>
                <a:lnTo>
                  <a:pt x="5267621" y="5102719"/>
                </a:lnTo>
                <a:lnTo>
                  <a:pt x="5267764" y="5102622"/>
                </a:lnTo>
                <a:lnTo>
                  <a:pt x="5267862" y="5102478"/>
                </a:lnTo>
                <a:lnTo>
                  <a:pt x="5293704" y="5085099"/>
                </a:lnTo>
                <a:lnTo>
                  <a:pt x="5323916" y="5064688"/>
                </a:lnTo>
                <a:lnTo>
                  <a:pt x="5324111" y="5064649"/>
                </a:lnTo>
                <a:lnTo>
                  <a:pt x="5324187" y="5064598"/>
                </a:lnTo>
                <a:cubicBezTo>
                  <a:pt x="5345369" y="5055662"/>
                  <a:pt x="5368637" y="5050727"/>
                  <a:pt x="5393028" y="5050727"/>
                </a:cubicBezTo>
                <a:close/>
                <a:moveTo>
                  <a:pt x="2053365" y="5023126"/>
                </a:moveTo>
                <a:lnTo>
                  <a:pt x="2053370" y="5023127"/>
                </a:lnTo>
                <a:lnTo>
                  <a:pt x="2053377" y="5023126"/>
                </a:lnTo>
                <a:cubicBezTo>
                  <a:pt x="2166350" y="5023126"/>
                  <a:pt x="2258139" y="5114914"/>
                  <a:pt x="2258139" y="5227884"/>
                </a:cubicBezTo>
                <a:cubicBezTo>
                  <a:pt x="2258139" y="5340854"/>
                  <a:pt x="2166350" y="5432642"/>
                  <a:pt x="2053377" y="5432642"/>
                </a:cubicBezTo>
                <a:lnTo>
                  <a:pt x="2053370" y="5432642"/>
                </a:lnTo>
                <a:lnTo>
                  <a:pt x="2053365" y="5432642"/>
                </a:lnTo>
                <a:cubicBezTo>
                  <a:pt x="1940394" y="5432642"/>
                  <a:pt x="1848606" y="5340854"/>
                  <a:pt x="1848606" y="5227884"/>
                </a:cubicBezTo>
                <a:cubicBezTo>
                  <a:pt x="1848606" y="5114914"/>
                  <a:pt x="1940394" y="5023126"/>
                  <a:pt x="2053365" y="5023126"/>
                </a:cubicBezTo>
                <a:close/>
                <a:moveTo>
                  <a:pt x="4836522" y="5020558"/>
                </a:moveTo>
                <a:cubicBezTo>
                  <a:pt x="4950776" y="5020558"/>
                  <a:pt x="5043848" y="5113630"/>
                  <a:pt x="5043848" y="5227884"/>
                </a:cubicBezTo>
                <a:cubicBezTo>
                  <a:pt x="5043848" y="5342138"/>
                  <a:pt x="4950776" y="5435209"/>
                  <a:pt x="4836522" y="5435209"/>
                </a:cubicBezTo>
                <a:cubicBezTo>
                  <a:pt x="4722269" y="5435209"/>
                  <a:pt x="4629197" y="5342138"/>
                  <a:pt x="4629197" y="5227884"/>
                </a:cubicBezTo>
                <a:cubicBezTo>
                  <a:pt x="4629197" y="5113630"/>
                  <a:pt x="4722269" y="5020558"/>
                  <a:pt x="4836522" y="5020558"/>
                </a:cubicBezTo>
                <a:close/>
                <a:moveTo>
                  <a:pt x="4280017" y="4998735"/>
                </a:moveTo>
                <a:cubicBezTo>
                  <a:pt x="4406467" y="4998735"/>
                  <a:pt x="4509167" y="5101435"/>
                  <a:pt x="4509167" y="5227884"/>
                </a:cubicBezTo>
                <a:cubicBezTo>
                  <a:pt x="4509167" y="5354333"/>
                  <a:pt x="4406467" y="5457033"/>
                  <a:pt x="4280017" y="5457033"/>
                </a:cubicBezTo>
                <a:cubicBezTo>
                  <a:pt x="4153578" y="5457033"/>
                  <a:pt x="4050878" y="5354333"/>
                  <a:pt x="4050878" y="5227884"/>
                </a:cubicBezTo>
                <a:cubicBezTo>
                  <a:pt x="4050878" y="5101435"/>
                  <a:pt x="4153578" y="4998735"/>
                  <a:pt x="4280017" y="4998735"/>
                </a:cubicBezTo>
                <a:close/>
                <a:moveTo>
                  <a:pt x="2609873" y="4998735"/>
                </a:moveTo>
                <a:lnTo>
                  <a:pt x="2609880" y="4998736"/>
                </a:lnTo>
                <a:lnTo>
                  <a:pt x="2609887" y="4998735"/>
                </a:lnTo>
                <a:cubicBezTo>
                  <a:pt x="2736336" y="4998735"/>
                  <a:pt x="2839035" y="5101435"/>
                  <a:pt x="2839035" y="5227884"/>
                </a:cubicBezTo>
                <a:cubicBezTo>
                  <a:pt x="2839035" y="5354333"/>
                  <a:pt x="2736336" y="5457033"/>
                  <a:pt x="2609887" y="5457033"/>
                </a:cubicBezTo>
                <a:lnTo>
                  <a:pt x="2609880" y="5457033"/>
                </a:lnTo>
                <a:lnTo>
                  <a:pt x="2609873" y="5457033"/>
                </a:lnTo>
                <a:cubicBezTo>
                  <a:pt x="2483423" y="5457033"/>
                  <a:pt x="2380723" y="5354333"/>
                  <a:pt x="2380723" y="5227884"/>
                </a:cubicBezTo>
                <a:cubicBezTo>
                  <a:pt x="2380723" y="5101435"/>
                  <a:pt x="2483423" y="4998735"/>
                  <a:pt x="2609873" y="4998735"/>
                </a:cubicBezTo>
                <a:close/>
                <a:moveTo>
                  <a:pt x="8176195" y="4631582"/>
                </a:moveTo>
                <a:cubicBezTo>
                  <a:pt x="8198660" y="4631582"/>
                  <a:pt x="8215991" y="4648913"/>
                  <a:pt x="8215991" y="4671379"/>
                </a:cubicBezTo>
                <a:cubicBezTo>
                  <a:pt x="8215991" y="4693202"/>
                  <a:pt x="8198660" y="4711175"/>
                  <a:pt x="8176195" y="4711175"/>
                </a:cubicBezTo>
                <a:cubicBezTo>
                  <a:pt x="8154371" y="4711175"/>
                  <a:pt x="8136398" y="4693202"/>
                  <a:pt x="8136398" y="4671379"/>
                </a:cubicBezTo>
                <a:cubicBezTo>
                  <a:pt x="8136398" y="4649555"/>
                  <a:pt x="8154371" y="4631582"/>
                  <a:pt x="8176195" y="4631582"/>
                </a:cubicBezTo>
                <a:close/>
                <a:moveTo>
                  <a:pt x="7619689" y="4597563"/>
                </a:moveTo>
                <a:cubicBezTo>
                  <a:pt x="7660769" y="4597563"/>
                  <a:pt x="7693504" y="4630299"/>
                  <a:pt x="7693504" y="4671379"/>
                </a:cubicBezTo>
                <a:cubicBezTo>
                  <a:pt x="7693504" y="4681489"/>
                  <a:pt x="7691458" y="4691157"/>
                  <a:pt x="7687747" y="4699973"/>
                </a:cubicBezTo>
                <a:lnTo>
                  <a:pt x="7687696" y="4700048"/>
                </a:lnTo>
                <a:lnTo>
                  <a:pt x="7687657" y="4700243"/>
                </a:lnTo>
                <a:lnTo>
                  <a:pt x="7679174" y="4712756"/>
                </a:lnTo>
                <a:lnTo>
                  <a:pt x="7672001" y="4723451"/>
                </a:lnTo>
                <a:lnTo>
                  <a:pt x="7671857" y="4723549"/>
                </a:lnTo>
                <a:lnTo>
                  <a:pt x="7671760" y="4723691"/>
                </a:lnTo>
                <a:lnTo>
                  <a:pt x="7661143" y="4730812"/>
                </a:lnTo>
                <a:lnTo>
                  <a:pt x="7648553" y="4739347"/>
                </a:lnTo>
                <a:lnTo>
                  <a:pt x="7648358" y="4739387"/>
                </a:lnTo>
                <a:lnTo>
                  <a:pt x="7648282" y="4739437"/>
                </a:lnTo>
                <a:cubicBezTo>
                  <a:pt x="7639466" y="4743148"/>
                  <a:pt x="7629798" y="4745194"/>
                  <a:pt x="7619689" y="4745194"/>
                </a:cubicBezTo>
                <a:cubicBezTo>
                  <a:pt x="7609579" y="4745194"/>
                  <a:pt x="7599911" y="4743148"/>
                  <a:pt x="7591095" y="4739437"/>
                </a:cubicBezTo>
                <a:lnTo>
                  <a:pt x="7591020" y="4739387"/>
                </a:lnTo>
                <a:lnTo>
                  <a:pt x="7590824" y="4739347"/>
                </a:lnTo>
                <a:lnTo>
                  <a:pt x="7578202" y="4730790"/>
                </a:lnTo>
                <a:lnTo>
                  <a:pt x="7567616" y="4723691"/>
                </a:lnTo>
                <a:lnTo>
                  <a:pt x="7567520" y="4723549"/>
                </a:lnTo>
                <a:lnTo>
                  <a:pt x="7567375" y="4723451"/>
                </a:lnTo>
                <a:lnTo>
                  <a:pt x="7560183" y="4712726"/>
                </a:lnTo>
                <a:lnTo>
                  <a:pt x="7551720" y="4700243"/>
                </a:lnTo>
                <a:lnTo>
                  <a:pt x="7551681" y="4700049"/>
                </a:lnTo>
                <a:lnTo>
                  <a:pt x="7551629" y="4699973"/>
                </a:lnTo>
                <a:cubicBezTo>
                  <a:pt x="7547919" y="4691157"/>
                  <a:pt x="7545873" y="4681489"/>
                  <a:pt x="7545873" y="4671379"/>
                </a:cubicBezTo>
                <a:cubicBezTo>
                  <a:pt x="7545873" y="4661270"/>
                  <a:pt x="7547919" y="4651602"/>
                  <a:pt x="7551629" y="4642786"/>
                </a:cubicBezTo>
                <a:lnTo>
                  <a:pt x="7551680" y="4642710"/>
                </a:lnTo>
                <a:lnTo>
                  <a:pt x="7551720" y="4642515"/>
                </a:lnTo>
                <a:lnTo>
                  <a:pt x="7560209" y="4629993"/>
                </a:lnTo>
                <a:lnTo>
                  <a:pt x="7567375" y="4619307"/>
                </a:lnTo>
                <a:lnTo>
                  <a:pt x="7567520" y="4619209"/>
                </a:lnTo>
                <a:lnTo>
                  <a:pt x="7567616" y="4619066"/>
                </a:lnTo>
                <a:lnTo>
                  <a:pt x="7578237" y="4611944"/>
                </a:lnTo>
                <a:lnTo>
                  <a:pt x="7590824" y="4603410"/>
                </a:lnTo>
                <a:lnTo>
                  <a:pt x="7591020" y="4603371"/>
                </a:lnTo>
                <a:lnTo>
                  <a:pt x="7591095" y="4603320"/>
                </a:lnTo>
                <a:cubicBezTo>
                  <a:pt x="7599911" y="4599609"/>
                  <a:pt x="7609579" y="4597563"/>
                  <a:pt x="7619689" y="4597563"/>
                </a:cubicBezTo>
                <a:close/>
                <a:moveTo>
                  <a:pt x="7063184" y="4549423"/>
                </a:moveTo>
                <a:cubicBezTo>
                  <a:pt x="7130581" y="4549423"/>
                  <a:pt x="7185140" y="4603983"/>
                  <a:pt x="7185140" y="4671380"/>
                </a:cubicBezTo>
                <a:cubicBezTo>
                  <a:pt x="7185140" y="4738776"/>
                  <a:pt x="7130581" y="4793336"/>
                  <a:pt x="7063184" y="4793336"/>
                </a:cubicBezTo>
                <a:cubicBezTo>
                  <a:pt x="6995787" y="4793336"/>
                  <a:pt x="6941228" y="4738776"/>
                  <a:pt x="6941228" y="4671380"/>
                </a:cubicBezTo>
                <a:cubicBezTo>
                  <a:pt x="6941228" y="4603983"/>
                  <a:pt x="6995787" y="4549423"/>
                  <a:pt x="7063184" y="4549423"/>
                </a:cubicBezTo>
                <a:close/>
                <a:moveTo>
                  <a:pt x="6506679" y="4496789"/>
                </a:moveTo>
                <a:cubicBezTo>
                  <a:pt x="6602318" y="4496789"/>
                  <a:pt x="6679985" y="4574456"/>
                  <a:pt x="6679985" y="4670737"/>
                </a:cubicBezTo>
                <a:lnTo>
                  <a:pt x="6679920" y="4671058"/>
                </a:lnTo>
                <a:lnTo>
                  <a:pt x="6679985" y="4671379"/>
                </a:lnTo>
                <a:cubicBezTo>
                  <a:pt x="6679985" y="4767660"/>
                  <a:pt x="6602318" y="4845327"/>
                  <a:pt x="6506679" y="4845327"/>
                </a:cubicBezTo>
                <a:cubicBezTo>
                  <a:pt x="6410398" y="4845327"/>
                  <a:pt x="6332731" y="4767018"/>
                  <a:pt x="6332731" y="4671379"/>
                </a:cubicBezTo>
                <a:lnTo>
                  <a:pt x="6332796" y="4671058"/>
                </a:lnTo>
                <a:lnTo>
                  <a:pt x="6332731" y="4670737"/>
                </a:lnTo>
                <a:cubicBezTo>
                  <a:pt x="6332731" y="4575098"/>
                  <a:pt x="6410398" y="4496789"/>
                  <a:pt x="6506679" y="4496789"/>
                </a:cubicBezTo>
                <a:close/>
                <a:moveTo>
                  <a:pt x="383217" y="4496789"/>
                </a:moveTo>
                <a:cubicBezTo>
                  <a:pt x="478856" y="4496789"/>
                  <a:pt x="557164" y="4574456"/>
                  <a:pt x="557164" y="4670737"/>
                </a:cubicBezTo>
                <a:lnTo>
                  <a:pt x="557093" y="4671084"/>
                </a:lnTo>
                <a:lnTo>
                  <a:pt x="557154" y="4671379"/>
                </a:lnTo>
                <a:cubicBezTo>
                  <a:pt x="557154" y="4767660"/>
                  <a:pt x="478845" y="4845327"/>
                  <a:pt x="383206" y="4845327"/>
                </a:cubicBezTo>
                <a:cubicBezTo>
                  <a:pt x="286925" y="4845327"/>
                  <a:pt x="209258" y="4767018"/>
                  <a:pt x="209258" y="4671379"/>
                </a:cubicBezTo>
                <a:lnTo>
                  <a:pt x="209328" y="4671031"/>
                </a:lnTo>
                <a:lnTo>
                  <a:pt x="209269" y="4670737"/>
                </a:lnTo>
                <a:cubicBezTo>
                  <a:pt x="209269" y="4575098"/>
                  <a:pt x="286936" y="4496789"/>
                  <a:pt x="383217" y="4496789"/>
                </a:cubicBezTo>
                <a:close/>
                <a:moveTo>
                  <a:pt x="5958673" y="4447478"/>
                </a:moveTo>
                <a:cubicBezTo>
                  <a:pt x="5973085" y="4448063"/>
                  <a:pt x="5987390" y="4450032"/>
                  <a:pt x="6001379" y="4453336"/>
                </a:cubicBezTo>
                <a:lnTo>
                  <a:pt x="6007264" y="4455334"/>
                </a:lnTo>
                <a:lnTo>
                  <a:pt x="6011809" y="4456069"/>
                </a:lnTo>
                <a:lnTo>
                  <a:pt x="6021623" y="4460212"/>
                </a:lnTo>
                <a:lnTo>
                  <a:pt x="6042195" y="4467199"/>
                </a:lnTo>
                <a:lnTo>
                  <a:pt x="6053473" y="4473656"/>
                </a:lnTo>
                <a:lnTo>
                  <a:pt x="6061505" y="4477047"/>
                </a:lnTo>
                <a:lnTo>
                  <a:pt x="6068378" y="4482190"/>
                </a:lnTo>
                <a:lnTo>
                  <a:pt x="6079877" y="4488774"/>
                </a:lnTo>
                <a:lnTo>
                  <a:pt x="6086208" y="4495533"/>
                </a:lnTo>
                <a:lnTo>
                  <a:pt x="6105334" y="4509845"/>
                </a:lnTo>
                <a:lnTo>
                  <a:pt x="6140831" y="4553846"/>
                </a:lnTo>
                <a:lnTo>
                  <a:pt x="6140866" y="4553883"/>
                </a:lnTo>
                <a:cubicBezTo>
                  <a:pt x="6157173" y="4580271"/>
                  <a:pt x="6167359" y="4608714"/>
                  <a:pt x="6171818" y="4637555"/>
                </a:cubicBezTo>
                <a:lnTo>
                  <a:pt x="6171818" y="4637560"/>
                </a:lnTo>
                <a:lnTo>
                  <a:pt x="6171818" y="4637561"/>
                </a:lnTo>
                <a:cubicBezTo>
                  <a:pt x="6185193" y="4724083"/>
                  <a:pt x="6147015" y="4814187"/>
                  <a:pt x="6067853" y="4863106"/>
                </a:cubicBezTo>
                <a:cubicBezTo>
                  <a:pt x="5962303" y="4928332"/>
                  <a:pt x="5823862" y="4895642"/>
                  <a:pt x="5758636" y="4790093"/>
                </a:cubicBezTo>
                <a:cubicBezTo>
                  <a:pt x="5742329" y="4763705"/>
                  <a:pt x="5732144" y="4735262"/>
                  <a:pt x="5727684" y="4706421"/>
                </a:cubicBezTo>
                <a:lnTo>
                  <a:pt x="5727684" y="4706416"/>
                </a:lnTo>
                <a:lnTo>
                  <a:pt x="5727684" y="4706415"/>
                </a:lnTo>
                <a:cubicBezTo>
                  <a:pt x="5714309" y="4619892"/>
                  <a:pt x="5752487" y="4529789"/>
                  <a:pt x="5831650" y="4480870"/>
                </a:cubicBezTo>
                <a:cubicBezTo>
                  <a:pt x="5844843" y="4472717"/>
                  <a:pt x="5858551" y="4466093"/>
                  <a:pt x="5872565" y="4460951"/>
                </a:cubicBezTo>
                <a:lnTo>
                  <a:pt x="5887123" y="4457194"/>
                </a:lnTo>
                <a:lnTo>
                  <a:pt x="5893791" y="4454348"/>
                </a:lnTo>
                <a:lnTo>
                  <a:pt x="5901185" y="4453566"/>
                </a:lnTo>
                <a:lnTo>
                  <a:pt x="5915321" y="4449918"/>
                </a:lnTo>
                <a:cubicBezTo>
                  <a:pt x="5929741" y="4447689"/>
                  <a:pt x="5944262" y="4446892"/>
                  <a:pt x="5958673" y="4447478"/>
                </a:cubicBezTo>
                <a:close/>
                <a:moveTo>
                  <a:pt x="939710" y="4446723"/>
                </a:moveTo>
                <a:lnTo>
                  <a:pt x="939715" y="4446724"/>
                </a:lnTo>
                <a:lnTo>
                  <a:pt x="939720" y="4446723"/>
                </a:lnTo>
                <a:cubicBezTo>
                  <a:pt x="1063795" y="4446723"/>
                  <a:pt x="1164377" y="4547305"/>
                  <a:pt x="1164377" y="4671379"/>
                </a:cubicBezTo>
                <a:cubicBezTo>
                  <a:pt x="1164377" y="4795453"/>
                  <a:pt x="1063795" y="4896035"/>
                  <a:pt x="939720" y="4896035"/>
                </a:cubicBezTo>
                <a:lnTo>
                  <a:pt x="939715" y="4896035"/>
                </a:lnTo>
                <a:lnTo>
                  <a:pt x="939710" y="4896035"/>
                </a:lnTo>
                <a:cubicBezTo>
                  <a:pt x="815636" y="4896035"/>
                  <a:pt x="715054" y="4795453"/>
                  <a:pt x="715054" y="4671379"/>
                </a:cubicBezTo>
                <a:cubicBezTo>
                  <a:pt x="715054" y="4547305"/>
                  <a:pt x="815636" y="4446723"/>
                  <a:pt x="939710" y="4446723"/>
                </a:cubicBezTo>
                <a:close/>
                <a:moveTo>
                  <a:pt x="8733341" y="4078287"/>
                </a:moveTo>
                <a:cubicBezTo>
                  <a:pt x="8753239" y="4078287"/>
                  <a:pt x="8769286" y="4094334"/>
                  <a:pt x="8769286" y="4114232"/>
                </a:cubicBezTo>
                <a:lnTo>
                  <a:pt x="8769147" y="4114553"/>
                </a:lnTo>
                <a:lnTo>
                  <a:pt x="8769286" y="4114874"/>
                </a:lnTo>
                <a:cubicBezTo>
                  <a:pt x="8769286" y="4134772"/>
                  <a:pt x="8753239" y="4150819"/>
                  <a:pt x="8733341" y="4150819"/>
                </a:cubicBezTo>
                <a:cubicBezTo>
                  <a:pt x="8713443" y="4150819"/>
                  <a:pt x="8697396" y="4134772"/>
                  <a:pt x="8697396" y="4114874"/>
                </a:cubicBezTo>
                <a:lnTo>
                  <a:pt x="8697529" y="4114553"/>
                </a:lnTo>
                <a:lnTo>
                  <a:pt x="8697396" y="4114232"/>
                </a:lnTo>
                <a:cubicBezTo>
                  <a:pt x="8697396" y="4094334"/>
                  <a:pt x="8713443" y="4078287"/>
                  <a:pt x="8733341" y="4078287"/>
                </a:cubicBezTo>
                <a:close/>
                <a:moveTo>
                  <a:pt x="8176194" y="4041058"/>
                </a:moveTo>
                <a:cubicBezTo>
                  <a:pt x="8216631" y="4041058"/>
                  <a:pt x="8250009" y="4073794"/>
                  <a:pt x="8249367" y="4114232"/>
                </a:cubicBezTo>
                <a:lnTo>
                  <a:pt x="8249302" y="4114553"/>
                </a:lnTo>
                <a:lnTo>
                  <a:pt x="8249367" y="4114873"/>
                </a:lnTo>
                <a:cubicBezTo>
                  <a:pt x="8250009" y="4155312"/>
                  <a:pt x="8216631" y="4188047"/>
                  <a:pt x="8176194" y="4188047"/>
                </a:cubicBezTo>
                <a:cubicBezTo>
                  <a:pt x="8135755" y="4188047"/>
                  <a:pt x="8103020" y="4155312"/>
                  <a:pt x="8103020" y="4114873"/>
                </a:cubicBezTo>
                <a:lnTo>
                  <a:pt x="8103084" y="4114553"/>
                </a:lnTo>
                <a:lnTo>
                  <a:pt x="8103020" y="4114232"/>
                </a:lnTo>
                <a:cubicBezTo>
                  <a:pt x="8103020" y="4073794"/>
                  <a:pt x="8135755" y="4041058"/>
                  <a:pt x="8176194" y="4041058"/>
                </a:cubicBezTo>
                <a:close/>
                <a:moveTo>
                  <a:pt x="0" y="4030788"/>
                </a:moveTo>
                <a:cubicBezTo>
                  <a:pt x="12196" y="4056463"/>
                  <a:pt x="19256" y="4084063"/>
                  <a:pt x="19256" y="4114232"/>
                </a:cubicBezTo>
                <a:cubicBezTo>
                  <a:pt x="19256" y="4144400"/>
                  <a:pt x="12196" y="4172642"/>
                  <a:pt x="0" y="4197675"/>
                </a:cubicBezTo>
                <a:close/>
                <a:moveTo>
                  <a:pt x="7619392" y="3987950"/>
                </a:moveTo>
                <a:cubicBezTo>
                  <a:pt x="7651753" y="3987950"/>
                  <a:pt x="7684114" y="4000296"/>
                  <a:pt x="7708804" y="4024986"/>
                </a:cubicBezTo>
                <a:cubicBezTo>
                  <a:pt x="7758185" y="4074367"/>
                  <a:pt x="7758185" y="4154429"/>
                  <a:pt x="7708805" y="4203810"/>
                </a:cubicBezTo>
                <a:cubicBezTo>
                  <a:pt x="7659423" y="4253191"/>
                  <a:pt x="7579361" y="4253191"/>
                  <a:pt x="7529980" y="4203810"/>
                </a:cubicBezTo>
                <a:cubicBezTo>
                  <a:pt x="7480599" y="4154429"/>
                  <a:pt x="7480599" y="4074367"/>
                  <a:pt x="7529980" y="4024985"/>
                </a:cubicBezTo>
                <a:cubicBezTo>
                  <a:pt x="7542325" y="4012640"/>
                  <a:pt x="7556588" y="4003381"/>
                  <a:pt x="7571810" y="3997209"/>
                </a:cubicBezTo>
                <a:cubicBezTo>
                  <a:pt x="7587031" y="3991036"/>
                  <a:pt x="7603212" y="3987950"/>
                  <a:pt x="7619392" y="3987950"/>
                </a:cubicBezTo>
                <a:close/>
                <a:moveTo>
                  <a:pt x="7063185" y="3924237"/>
                </a:moveTo>
                <a:cubicBezTo>
                  <a:pt x="7167810" y="3924237"/>
                  <a:pt x="7253179" y="4008964"/>
                  <a:pt x="7253179" y="4114232"/>
                </a:cubicBezTo>
                <a:lnTo>
                  <a:pt x="7253114" y="4114553"/>
                </a:lnTo>
                <a:lnTo>
                  <a:pt x="7253179" y="4114874"/>
                </a:lnTo>
                <a:cubicBezTo>
                  <a:pt x="7253179" y="4220141"/>
                  <a:pt x="7167810" y="4304869"/>
                  <a:pt x="7063185" y="4304869"/>
                </a:cubicBezTo>
                <a:cubicBezTo>
                  <a:pt x="6957917" y="4304869"/>
                  <a:pt x="6873190" y="4219499"/>
                  <a:pt x="6873190" y="4114874"/>
                </a:cubicBezTo>
                <a:lnTo>
                  <a:pt x="6873255" y="4114553"/>
                </a:lnTo>
                <a:lnTo>
                  <a:pt x="6873190" y="4114232"/>
                </a:lnTo>
                <a:cubicBezTo>
                  <a:pt x="6873190" y="4009606"/>
                  <a:pt x="6957917" y="3924237"/>
                  <a:pt x="7063185" y="3924237"/>
                </a:cubicBezTo>
                <a:close/>
                <a:moveTo>
                  <a:pt x="8733341" y="3496749"/>
                </a:moveTo>
                <a:cubicBezTo>
                  <a:pt x="8766719" y="3496749"/>
                  <a:pt x="8794319" y="3523708"/>
                  <a:pt x="8794319" y="3557727"/>
                </a:cubicBezTo>
                <a:lnTo>
                  <a:pt x="8794250" y="3558046"/>
                </a:lnTo>
                <a:lnTo>
                  <a:pt x="8794319" y="3558369"/>
                </a:lnTo>
                <a:cubicBezTo>
                  <a:pt x="8794319" y="3592388"/>
                  <a:pt x="8766719" y="3619347"/>
                  <a:pt x="8733341" y="3619347"/>
                </a:cubicBezTo>
                <a:cubicBezTo>
                  <a:pt x="8699322" y="3619347"/>
                  <a:pt x="8672363" y="3591746"/>
                  <a:pt x="8672363" y="3558369"/>
                </a:cubicBezTo>
                <a:lnTo>
                  <a:pt x="8672428" y="3558048"/>
                </a:lnTo>
                <a:lnTo>
                  <a:pt x="8672363" y="3557727"/>
                </a:lnTo>
                <a:cubicBezTo>
                  <a:pt x="8672363" y="3524350"/>
                  <a:pt x="8699322" y="3496749"/>
                  <a:pt x="8733341" y="3496749"/>
                </a:cubicBezTo>
                <a:close/>
                <a:moveTo>
                  <a:pt x="8176194" y="3440264"/>
                </a:moveTo>
                <a:cubicBezTo>
                  <a:pt x="8241023" y="3440264"/>
                  <a:pt x="8293657" y="3492898"/>
                  <a:pt x="8293657" y="3557727"/>
                </a:cubicBezTo>
                <a:cubicBezTo>
                  <a:pt x="8293657" y="3622556"/>
                  <a:pt x="8241023" y="3675190"/>
                  <a:pt x="8176194" y="3675190"/>
                </a:cubicBezTo>
                <a:cubicBezTo>
                  <a:pt x="8111364" y="3675190"/>
                  <a:pt x="8058731" y="3622556"/>
                  <a:pt x="8058731" y="3557727"/>
                </a:cubicBezTo>
                <a:cubicBezTo>
                  <a:pt x="8058731" y="3492898"/>
                  <a:pt x="8111364" y="3440264"/>
                  <a:pt x="8176194" y="3440264"/>
                </a:cubicBezTo>
                <a:close/>
                <a:moveTo>
                  <a:pt x="7619689" y="3372225"/>
                </a:moveTo>
                <a:cubicBezTo>
                  <a:pt x="7722389" y="3372225"/>
                  <a:pt x="7805191" y="3455027"/>
                  <a:pt x="7805191" y="3557726"/>
                </a:cubicBezTo>
                <a:cubicBezTo>
                  <a:pt x="7805191" y="3660426"/>
                  <a:pt x="7722389" y="3743228"/>
                  <a:pt x="7619689" y="3743228"/>
                </a:cubicBezTo>
                <a:cubicBezTo>
                  <a:pt x="7516989" y="3743228"/>
                  <a:pt x="7434187" y="3660426"/>
                  <a:pt x="7434187" y="3557726"/>
                </a:cubicBezTo>
                <a:cubicBezTo>
                  <a:pt x="7434187" y="3455027"/>
                  <a:pt x="7516989" y="3372225"/>
                  <a:pt x="7619689" y="3372225"/>
                </a:cubicBezTo>
                <a:close/>
                <a:moveTo>
                  <a:pt x="9289846" y="2954365"/>
                </a:moveTo>
                <a:cubicBezTo>
                  <a:pt x="9315521" y="2954365"/>
                  <a:pt x="9336702" y="2975547"/>
                  <a:pt x="9336702" y="3001222"/>
                </a:cubicBezTo>
                <a:cubicBezTo>
                  <a:pt x="9336702" y="3026897"/>
                  <a:pt x="9315521" y="3048079"/>
                  <a:pt x="9289846" y="3048079"/>
                </a:cubicBezTo>
                <a:cubicBezTo>
                  <a:pt x="9264171" y="3048079"/>
                  <a:pt x="9242989" y="3026897"/>
                  <a:pt x="9242989" y="3001222"/>
                </a:cubicBezTo>
                <a:cubicBezTo>
                  <a:pt x="9242989" y="2975547"/>
                  <a:pt x="9264171" y="2954365"/>
                  <a:pt x="9289846" y="2954365"/>
                </a:cubicBezTo>
                <a:close/>
                <a:moveTo>
                  <a:pt x="8733340" y="2907508"/>
                </a:moveTo>
                <a:cubicBezTo>
                  <a:pt x="8784690" y="2907508"/>
                  <a:pt x="8827054" y="2949230"/>
                  <a:pt x="8827054" y="3001221"/>
                </a:cubicBezTo>
                <a:cubicBezTo>
                  <a:pt x="8827054" y="3053214"/>
                  <a:pt x="8784690" y="3094935"/>
                  <a:pt x="8733340" y="3094935"/>
                </a:cubicBezTo>
                <a:cubicBezTo>
                  <a:pt x="8720503" y="3094935"/>
                  <a:pt x="8708227" y="3092328"/>
                  <a:pt x="8697034" y="3087604"/>
                </a:cubicBezTo>
                <a:lnTo>
                  <a:pt x="8696959" y="3087553"/>
                </a:lnTo>
                <a:lnTo>
                  <a:pt x="8696764" y="3087513"/>
                </a:lnTo>
                <a:lnTo>
                  <a:pt x="8680809" y="3076702"/>
                </a:lnTo>
                <a:lnTo>
                  <a:pt x="8667228" y="3067575"/>
                </a:lnTo>
                <a:lnTo>
                  <a:pt x="8667130" y="3067431"/>
                </a:lnTo>
                <a:lnTo>
                  <a:pt x="8666987" y="3067334"/>
                </a:lnTo>
                <a:lnTo>
                  <a:pt x="8657924" y="3053847"/>
                </a:lnTo>
                <a:lnTo>
                  <a:pt x="8647049" y="3037799"/>
                </a:lnTo>
                <a:lnTo>
                  <a:pt x="8647009" y="3037602"/>
                </a:lnTo>
                <a:lnTo>
                  <a:pt x="8646958" y="3037527"/>
                </a:lnTo>
                <a:cubicBezTo>
                  <a:pt x="8642235" y="3026335"/>
                  <a:pt x="8639627" y="3014059"/>
                  <a:pt x="8639627" y="3001221"/>
                </a:cubicBezTo>
                <a:cubicBezTo>
                  <a:pt x="8639627" y="2988384"/>
                  <a:pt x="8642235" y="2976108"/>
                  <a:pt x="8646958" y="2964916"/>
                </a:cubicBezTo>
                <a:lnTo>
                  <a:pt x="8647009" y="2964840"/>
                </a:lnTo>
                <a:lnTo>
                  <a:pt x="8647049" y="2964645"/>
                </a:lnTo>
                <a:lnTo>
                  <a:pt x="8657890" y="2948647"/>
                </a:lnTo>
                <a:lnTo>
                  <a:pt x="8666987" y="2935109"/>
                </a:lnTo>
                <a:lnTo>
                  <a:pt x="8667130" y="2935011"/>
                </a:lnTo>
                <a:lnTo>
                  <a:pt x="8667228" y="2934868"/>
                </a:lnTo>
                <a:lnTo>
                  <a:pt x="8680764" y="2925772"/>
                </a:lnTo>
                <a:lnTo>
                  <a:pt x="8696764" y="2914930"/>
                </a:lnTo>
                <a:lnTo>
                  <a:pt x="8696959" y="2914890"/>
                </a:lnTo>
                <a:lnTo>
                  <a:pt x="8697034" y="2914840"/>
                </a:lnTo>
                <a:cubicBezTo>
                  <a:pt x="8708227" y="2910116"/>
                  <a:pt x="8720503" y="2907508"/>
                  <a:pt x="8733340" y="2907508"/>
                </a:cubicBezTo>
                <a:close/>
                <a:moveTo>
                  <a:pt x="8176195" y="2838828"/>
                </a:moveTo>
                <a:cubicBezTo>
                  <a:pt x="8266057" y="2838828"/>
                  <a:pt x="8338588" y="2911360"/>
                  <a:pt x="8338588" y="3001222"/>
                </a:cubicBezTo>
                <a:cubicBezTo>
                  <a:pt x="8338588" y="3091085"/>
                  <a:pt x="8266057" y="3163617"/>
                  <a:pt x="8176195" y="3163617"/>
                </a:cubicBezTo>
                <a:cubicBezTo>
                  <a:pt x="8086332" y="3163617"/>
                  <a:pt x="8013800" y="3091085"/>
                  <a:pt x="8013800" y="3001222"/>
                </a:cubicBezTo>
                <a:cubicBezTo>
                  <a:pt x="8013800" y="2911360"/>
                  <a:pt x="8086332" y="2838828"/>
                  <a:pt x="8176195" y="2838828"/>
                </a:cubicBezTo>
                <a:close/>
                <a:moveTo>
                  <a:pt x="9289846" y="2378604"/>
                </a:moveTo>
                <a:cubicBezTo>
                  <a:pt x="9326433" y="2378604"/>
                  <a:pt x="9355959" y="2408130"/>
                  <a:pt x="9355959" y="2444075"/>
                </a:cubicBezTo>
                <a:cubicBezTo>
                  <a:pt x="9355959" y="2480662"/>
                  <a:pt x="9326433" y="2510188"/>
                  <a:pt x="9289846" y="2510188"/>
                </a:cubicBezTo>
                <a:cubicBezTo>
                  <a:pt x="9253259" y="2510188"/>
                  <a:pt x="9223733" y="2480662"/>
                  <a:pt x="9223733" y="2444075"/>
                </a:cubicBezTo>
                <a:cubicBezTo>
                  <a:pt x="9223733" y="2407488"/>
                  <a:pt x="9253259" y="2378604"/>
                  <a:pt x="9289846" y="2378604"/>
                </a:cubicBezTo>
                <a:close/>
                <a:moveTo>
                  <a:pt x="8733341" y="2316342"/>
                </a:moveTo>
                <a:cubicBezTo>
                  <a:pt x="8750993" y="2316342"/>
                  <a:pt x="8767842" y="2319913"/>
                  <a:pt x="8783186" y="2326382"/>
                </a:cubicBezTo>
                <a:lnTo>
                  <a:pt x="8783262" y="2326432"/>
                </a:lnTo>
                <a:lnTo>
                  <a:pt x="8783457" y="2326472"/>
                </a:lnTo>
                <a:lnTo>
                  <a:pt x="8805377" y="2341293"/>
                </a:lnTo>
                <a:lnTo>
                  <a:pt x="8824006" y="2353812"/>
                </a:lnTo>
                <a:lnTo>
                  <a:pt x="8824103" y="2353955"/>
                </a:lnTo>
                <a:lnTo>
                  <a:pt x="8824247" y="2354052"/>
                </a:lnTo>
                <a:lnTo>
                  <a:pt x="8836766" y="2372684"/>
                </a:lnTo>
                <a:lnTo>
                  <a:pt x="8851586" y="2394601"/>
                </a:lnTo>
                <a:lnTo>
                  <a:pt x="8851626" y="2394796"/>
                </a:lnTo>
                <a:lnTo>
                  <a:pt x="8851677" y="2394872"/>
                </a:lnTo>
                <a:cubicBezTo>
                  <a:pt x="8858146" y="2410216"/>
                  <a:pt x="8861716" y="2427066"/>
                  <a:pt x="8861716" y="2444717"/>
                </a:cubicBezTo>
                <a:cubicBezTo>
                  <a:pt x="8861716" y="2515323"/>
                  <a:pt x="8804589" y="2573092"/>
                  <a:pt x="8733341" y="2573092"/>
                </a:cubicBezTo>
                <a:cubicBezTo>
                  <a:pt x="8715689" y="2573092"/>
                  <a:pt x="8698840" y="2569522"/>
                  <a:pt x="8683496" y="2563053"/>
                </a:cubicBezTo>
                <a:lnTo>
                  <a:pt x="8683420" y="2563002"/>
                </a:lnTo>
                <a:lnTo>
                  <a:pt x="8683225" y="2562963"/>
                </a:lnTo>
                <a:lnTo>
                  <a:pt x="8661295" y="2548134"/>
                </a:lnTo>
                <a:lnTo>
                  <a:pt x="8642676" y="2535623"/>
                </a:lnTo>
                <a:lnTo>
                  <a:pt x="8642579" y="2535479"/>
                </a:lnTo>
                <a:lnTo>
                  <a:pt x="8642436" y="2535382"/>
                </a:lnTo>
                <a:lnTo>
                  <a:pt x="8629916" y="2516751"/>
                </a:lnTo>
                <a:lnTo>
                  <a:pt x="8615096" y="2494834"/>
                </a:lnTo>
                <a:lnTo>
                  <a:pt x="8615056" y="2494638"/>
                </a:lnTo>
                <a:lnTo>
                  <a:pt x="8615005" y="2494563"/>
                </a:lnTo>
                <a:cubicBezTo>
                  <a:pt x="8608536" y="2479218"/>
                  <a:pt x="8604966" y="2462369"/>
                  <a:pt x="8604966" y="2444717"/>
                </a:cubicBezTo>
                <a:cubicBezTo>
                  <a:pt x="8604966" y="2427066"/>
                  <a:pt x="8608536" y="2410216"/>
                  <a:pt x="8615005" y="2394872"/>
                </a:cubicBezTo>
                <a:lnTo>
                  <a:pt x="8615056" y="2394796"/>
                </a:lnTo>
                <a:lnTo>
                  <a:pt x="8615096" y="2394601"/>
                </a:lnTo>
                <a:lnTo>
                  <a:pt x="8629916" y="2372683"/>
                </a:lnTo>
                <a:lnTo>
                  <a:pt x="8642436" y="2354052"/>
                </a:lnTo>
                <a:lnTo>
                  <a:pt x="8642579" y="2353955"/>
                </a:lnTo>
                <a:lnTo>
                  <a:pt x="8642676" y="2353812"/>
                </a:lnTo>
                <a:lnTo>
                  <a:pt x="8661295" y="2341300"/>
                </a:lnTo>
                <a:lnTo>
                  <a:pt x="8683225" y="2326472"/>
                </a:lnTo>
                <a:lnTo>
                  <a:pt x="8683420" y="2326432"/>
                </a:lnTo>
                <a:lnTo>
                  <a:pt x="8683496" y="2326382"/>
                </a:lnTo>
                <a:cubicBezTo>
                  <a:pt x="8698840" y="2319913"/>
                  <a:pt x="8715689" y="2316342"/>
                  <a:pt x="8733341" y="2316342"/>
                </a:cubicBezTo>
                <a:close/>
                <a:moveTo>
                  <a:pt x="8176194" y="2230973"/>
                </a:moveTo>
                <a:cubicBezTo>
                  <a:pt x="8294299" y="2230973"/>
                  <a:pt x="8390580" y="2326612"/>
                  <a:pt x="8389938" y="2444717"/>
                </a:cubicBezTo>
                <a:cubicBezTo>
                  <a:pt x="8390580" y="2562822"/>
                  <a:pt x="8294299" y="2658462"/>
                  <a:pt x="8176194" y="2658462"/>
                </a:cubicBezTo>
                <a:cubicBezTo>
                  <a:pt x="8058089" y="2658462"/>
                  <a:pt x="7962450" y="2562822"/>
                  <a:pt x="7962450" y="2444717"/>
                </a:cubicBezTo>
                <a:cubicBezTo>
                  <a:pt x="7962450" y="2326612"/>
                  <a:pt x="8058089" y="2230973"/>
                  <a:pt x="8176194" y="2230973"/>
                </a:cubicBezTo>
                <a:close/>
                <a:moveTo>
                  <a:pt x="9846351" y="1849709"/>
                </a:moveTo>
                <a:cubicBezTo>
                  <a:pt x="9866890" y="1849709"/>
                  <a:pt x="9884221" y="1866398"/>
                  <a:pt x="9884221" y="1887579"/>
                </a:cubicBezTo>
                <a:lnTo>
                  <a:pt x="9884088" y="1887897"/>
                </a:lnTo>
                <a:lnTo>
                  <a:pt x="9884221" y="1888215"/>
                </a:lnTo>
                <a:cubicBezTo>
                  <a:pt x="9884221" y="1909397"/>
                  <a:pt x="9866890" y="1926085"/>
                  <a:pt x="9846351" y="1926085"/>
                </a:cubicBezTo>
                <a:cubicBezTo>
                  <a:pt x="9825169" y="1926085"/>
                  <a:pt x="9808480" y="1908755"/>
                  <a:pt x="9808480" y="1888215"/>
                </a:cubicBezTo>
                <a:lnTo>
                  <a:pt x="9808613" y="1887897"/>
                </a:lnTo>
                <a:lnTo>
                  <a:pt x="9808480" y="1887579"/>
                </a:lnTo>
                <a:cubicBezTo>
                  <a:pt x="9808480" y="1867040"/>
                  <a:pt x="9825169" y="1849709"/>
                  <a:pt x="9846351" y="1849709"/>
                </a:cubicBezTo>
                <a:close/>
                <a:moveTo>
                  <a:pt x="9289846" y="1802846"/>
                </a:moveTo>
                <a:cubicBezTo>
                  <a:pt x="9336702" y="1802846"/>
                  <a:pt x="9374573" y="1840716"/>
                  <a:pt x="9374573" y="1887573"/>
                </a:cubicBezTo>
                <a:lnTo>
                  <a:pt x="9374508" y="1887897"/>
                </a:lnTo>
                <a:lnTo>
                  <a:pt x="9374573" y="1888221"/>
                </a:lnTo>
                <a:cubicBezTo>
                  <a:pt x="9374573" y="1935078"/>
                  <a:pt x="9336702" y="1972949"/>
                  <a:pt x="9289846" y="1972949"/>
                </a:cubicBezTo>
                <a:cubicBezTo>
                  <a:pt x="9242989" y="1972949"/>
                  <a:pt x="9205118" y="1935078"/>
                  <a:pt x="9205118" y="1888221"/>
                </a:cubicBezTo>
                <a:lnTo>
                  <a:pt x="9205183" y="1887897"/>
                </a:lnTo>
                <a:lnTo>
                  <a:pt x="9205118" y="1887573"/>
                </a:lnTo>
                <a:cubicBezTo>
                  <a:pt x="9205118" y="1840716"/>
                  <a:pt x="9242989" y="1802846"/>
                  <a:pt x="9289846" y="1802846"/>
                </a:cubicBezTo>
                <a:close/>
                <a:moveTo>
                  <a:pt x="8733341" y="1725828"/>
                </a:moveTo>
                <a:cubicBezTo>
                  <a:pt x="8822562" y="1725828"/>
                  <a:pt x="8895094" y="1798360"/>
                  <a:pt x="8895094" y="1887580"/>
                </a:cubicBezTo>
                <a:lnTo>
                  <a:pt x="8895028" y="1887898"/>
                </a:lnTo>
                <a:lnTo>
                  <a:pt x="8895094" y="1888215"/>
                </a:lnTo>
                <a:cubicBezTo>
                  <a:pt x="8895094" y="1977436"/>
                  <a:pt x="8822562" y="2049968"/>
                  <a:pt x="8733341" y="2049968"/>
                </a:cubicBezTo>
                <a:cubicBezTo>
                  <a:pt x="8644120" y="2049968"/>
                  <a:pt x="8571589" y="1977436"/>
                  <a:pt x="8571589" y="1888215"/>
                </a:cubicBezTo>
                <a:lnTo>
                  <a:pt x="8571653" y="1887898"/>
                </a:lnTo>
                <a:lnTo>
                  <a:pt x="8571589" y="1887580"/>
                </a:lnTo>
                <a:cubicBezTo>
                  <a:pt x="8571589" y="1798360"/>
                  <a:pt x="8644120" y="1725828"/>
                  <a:pt x="8733341" y="1725828"/>
                </a:cubicBezTo>
                <a:close/>
                <a:moveTo>
                  <a:pt x="9846351" y="1283568"/>
                </a:moveTo>
                <a:cubicBezTo>
                  <a:pt x="9872668" y="1283568"/>
                  <a:pt x="9893850" y="1304750"/>
                  <a:pt x="9893850" y="1331067"/>
                </a:cubicBezTo>
                <a:lnTo>
                  <a:pt x="9893849" y="1331071"/>
                </a:lnTo>
                <a:lnTo>
                  <a:pt x="9893850" y="1331074"/>
                </a:lnTo>
                <a:cubicBezTo>
                  <a:pt x="9893850" y="1357390"/>
                  <a:pt x="9872668" y="1378572"/>
                  <a:pt x="9846351" y="1378572"/>
                </a:cubicBezTo>
                <a:cubicBezTo>
                  <a:pt x="9820034" y="1378572"/>
                  <a:pt x="9798852" y="1357390"/>
                  <a:pt x="9798852" y="1331074"/>
                </a:cubicBezTo>
                <a:lnTo>
                  <a:pt x="9798853" y="1331071"/>
                </a:lnTo>
                <a:lnTo>
                  <a:pt x="9798852" y="1331067"/>
                </a:lnTo>
                <a:cubicBezTo>
                  <a:pt x="9798852" y="1304750"/>
                  <a:pt x="9820034" y="1283568"/>
                  <a:pt x="9846351" y="1283568"/>
                </a:cubicBezTo>
                <a:close/>
                <a:moveTo>
                  <a:pt x="9289846" y="1227085"/>
                </a:moveTo>
                <a:cubicBezTo>
                  <a:pt x="9346972" y="1227085"/>
                  <a:pt x="9393829" y="1273942"/>
                  <a:pt x="9393829" y="1331069"/>
                </a:cubicBezTo>
                <a:lnTo>
                  <a:pt x="9393764" y="1331392"/>
                </a:lnTo>
                <a:lnTo>
                  <a:pt x="9393829" y="1331716"/>
                </a:lnTo>
                <a:cubicBezTo>
                  <a:pt x="9393829" y="1388843"/>
                  <a:pt x="9346972" y="1435699"/>
                  <a:pt x="9289846" y="1435699"/>
                </a:cubicBezTo>
                <a:cubicBezTo>
                  <a:pt x="9232077" y="1435699"/>
                  <a:pt x="9185862" y="1388843"/>
                  <a:pt x="9185862" y="1331716"/>
                </a:cubicBezTo>
                <a:lnTo>
                  <a:pt x="9185928" y="1331392"/>
                </a:lnTo>
                <a:lnTo>
                  <a:pt x="9185862" y="1331069"/>
                </a:lnTo>
                <a:cubicBezTo>
                  <a:pt x="9185862" y="1273942"/>
                  <a:pt x="9232077" y="1227085"/>
                  <a:pt x="9289846" y="1227085"/>
                </a:cubicBezTo>
                <a:close/>
                <a:moveTo>
                  <a:pt x="8733341" y="1144925"/>
                </a:moveTo>
                <a:cubicBezTo>
                  <a:pt x="8836040" y="1144925"/>
                  <a:pt x="8919484" y="1228369"/>
                  <a:pt x="8919484" y="1331069"/>
                </a:cubicBezTo>
                <a:lnTo>
                  <a:pt x="8919483" y="1331072"/>
                </a:lnTo>
                <a:lnTo>
                  <a:pt x="8919484" y="1331076"/>
                </a:lnTo>
                <a:cubicBezTo>
                  <a:pt x="8919484" y="1433776"/>
                  <a:pt x="8836040" y="1517219"/>
                  <a:pt x="8733341" y="1517219"/>
                </a:cubicBezTo>
                <a:cubicBezTo>
                  <a:pt x="8630641" y="1517219"/>
                  <a:pt x="8547197" y="1433776"/>
                  <a:pt x="8547197" y="1331076"/>
                </a:cubicBezTo>
                <a:lnTo>
                  <a:pt x="8547198" y="1331072"/>
                </a:lnTo>
                <a:lnTo>
                  <a:pt x="8547197" y="1331069"/>
                </a:lnTo>
                <a:cubicBezTo>
                  <a:pt x="8547197" y="1228369"/>
                  <a:pt x="8630641" y="1144925"/>
                  <a:pt x="8733341" y="1144925"/>
                </a:cubicBezTo>
                <a:close/>
                <a:moveTo>
                  <a:pt x="9846351" y="721287"/>
                </a:moveTo>
                <a:cubicBezTo>
                  <a:pt x="9875877" y="721287"/>
                  <a:pt x="9899627" y="745036"/>
                  <a:pt x="9899627" y="774563"/>
                </a:cubicBezTo>
                <a:lnTo>
                  <a:pt x="9899626" y="774566"/>
                </a:lnTo>
                <a:lnTo>
                  <a:pt x="9899627" y="774569"/>
                </a:lnTo>
                <a:cubicBezTo>
                  <a:pt x="9899627" y="804095"/>
                  <a:pt x="9875877" y="827844"/>
                  <a:pt x="9846351" y="827844"/>
                </a:cubicBezTo>
                <a:cubicBezTo>
                  <a:pt x="9816825" y="827844"/>
                  <a:pt x="9793075" y="804095"/>
                  <a:pt x="9793075" y="774569"/>
                </a:cubicBezTo>
                <a:lnTo>
                  <a:pt x="9793076" y="774566"/>
                </a:lnTo>
                <a:lnTo>
                  <a:pt x="9793075" y="774563"/>
                </a:lnTo>
                <a:cubicBezTo>
                  <a:pt x="9793075" y="745036"/>
                  <a:pt x="9816825" y="721287"/>
                  <a:pt x="9846351" y="721287"/>
                </a:cubicBezTo>
                <a:close/>
                <a:moveTo>
                  <a:pt x="9289847" y="657747"/>
                </a:moveTo>
                <a:cubicBezTo>
                  <a:pt x="9354034" y="657747"/>
                  <a:pt x="9406667" y="709739"/>
                  <a:pt x="9406667" y="774568"/>
                </a:cubicBezTo>
                <a:lnTo>
                  <a:pt x="9406601" y="774885"/>
                </a:lnTo>
                <a:lnTo>
                  <a:pt x="9406667" y="775204"/>
                </a:lnTo>
                <a:cubicBezTo>
                  <a:pt x="9406667" y="840033"/>
                  <a:pt x="9354034" y="892025"/>
                  <a:pt x="9289847" y="892025"/>
                </a:cubicBezTo>
                <a:cubicBezTo>
                  <a:pt x="9225017" y="892025"/>
                  <a:pt x="9173025" y="839391"/>
                  <a:pt x="9173025" y="775204"/>
                </a:cubicBezTo>
                <a:lnTo>
                  <a:pt x="9173089" y="774886"/>
                </a:lnTo>
                <a:lnTo>
                  <a:pt x="9173025" y="774568"/>
                </a:lnTo>
                <a:cubicBezTo>
                  <a:pt x="9173025" y="710381"/>
                  <a:pt x="9225017" y="657747"/>
                  <a:pt x="9289847" y="657747"/>
                </a:cubicBezTo>
                <a:close/>
                <a:moveTo>
                  <a:pt x="8733165" y="568394"/>
                </a:moveTo>
                <a:lnTo>
                  <a:pt x="8738850" y="568939"/>
                </a:lnTo>
                <a:lnTo>
                  <a:pt x="8739361" y="568866"/>
                </a:lnTo>
                <a:lnTo>
                  <a:pt x="8742720" y="569310"/>
                </a:lnTo>
                <a:lnTo>
                  <a:pt x="8772517" y="572166"/>
                </a:lnTo>
                <a:lnTo>
                  <a:pt x="8779110" y="574120"/>
                </a:lnTo>
                <a:lnTo>
                  <a:pt x="8780734" y="574335"/>
                </a:lnTo>
                <a:lnTo>
                  <a:pt x="8786198" y="576220"/>
                </a:lnTo>
                <a:lnTo>
                  <a:pt x="8810698" y="583481"/>
                </a:lnTo>
                <a:lnTo>
                  <a:pt x="8817299" y="586955"/>
                </a:lnTo>
                <a:lnTo>
                  <a:pt x="8820184" y="587951"/>
                </a:lnTo>
                <a:lnTo>
                  <a:pt x="8828406" y="592800"/>
                </a:lnTo>
                <a:lnTo>
                  <a:pt x="8846535" y="602340"/>
                </a:lnTo>
                <a:lnTo>
                  <a:pt x="8851608" y="606484"/>
                </a:lnTo>
                <a:lnTo>
                  <a:pt x="8855065" y="608523"/>
                </a:lnTo>
                <a:lnTo>
                  <a:pt x="8858018" y="611719"/>
                </a:lnTo>
                <a:lnTo>
                  <a:pt x="8878857" y="628742"/>
                </a:lnTo>
                <a:lnTo>
                  <a:pt x="8891949" y="648458"/>
                </a:lnTo>
                <a:lnTo>
                  <a:pt x="8908655" y="666546"/>
                </a:lnTo>
                <a:lnTo>
                  <a:pt x="8914857" y="682955"/>
                </a:lnTo>
                <a:lnTo>
                  <a:pt x="8924117" y="696901"/>
                </a:lnTo>
                <a:lnTo>
                  <a:pt x="8928352" y="718665"/>
                </a:lnTo>
                <a:lnTo>
                  <a:pt x="8936578" y="740430"/>
                </a:lnTo>
                <a:lnTo>
                  <a:pt x="8938781" y="772260"/>
                </a:lnTo>
                <a:lnTo>
                  <a:pt x="8939204" y="774434"/>
                </a:lnTo>
                <a:lnTo>
                  <a:pt x="8939003" y="775467"/>
                </a:lnTo>
                <a:lnTo>
                  <a:pt x="8939374" y="780829"/>
                </a:lnTo>
                <a:cubicBezTo>
                  <a:pt x="8938963" y="794513"/>
                  <a:pt x="8937175" y="808359"/>
                  <a:pt x="8933906" y="822202"/>
                </a:cubicBezTo>
                <a:lnTo>
                  <a:pt x="8926978" y="837265"/>
                </a:lnTo>
                <a:lnTo>
                  <a:pt x="8924117" y="851967"/>
                </a:lnTo>
                <a:lnTo>
                  <a:pt x="8911425" y="871080"/>
                </a:lnTo>
                <a:lnTo>
                  <a:pt x="8899718" y="896533"/>
                </a:lnTo>
                <a:lnTo>
                  <a:pt x="8886283" y="908942"/>
                </a:lnTo>
                <a:lnTo>
                  <a:pt x="8878856" y="920126"/>
                </a:lnTo>
                <a:cubicBezTo>
                  <a:pt x="8868798" y="930184"/>
                  <a:pt x="8857959" y="938984"/>
                  <a:pt x="8846534" y="946528"/>
                </a:cubicBezTo>
                <a:lnTo>
                  <a:pt x="8844334" y="947686"/>
                </a:lnTo>
                <a:lnTo>
                  <a:pt x="8841695" y="950123"/>
                </a:lnTo>
                <a:cubicBezTo>
                  <a:pt x="8819267" y="963982"/>
                  <a:pt x="8794196" y="973564"/>
                  <a:pt x="8767810" y="978046"/>
                </a:cubicBezTo>
                <a:lnTo>
                  <a:pt x="8734266" y="980368"/>
                </a:lnTo>
                <a:lnTo>
                  <a:pt x="8733165" y="980473"/>
                </a:lnTo>
                <a:lnTo>
                  <a:pt x="8732987" y="980456"/>
                </a:lnTo>
                <a:lnTo>
                  <a:pt x="8727412" y="980842"/>
                </a:lnTo>
                <a:lnTo>
                  <a:pt x="8702082" y="977494"/>
                </a:lnTo>
                <a:lnTo>
                  <a:pt x="8693812" y="976701"/>
                </a:lnTo>
                <a:lnTo>
                  <a:pt x="8691982" y="976159"/>
                </a:lnTo>
                <a:lnTo>
                  <a:pt x="8686038" y="975373"/>
                </a:lnTo>
                <a:lnTo>
                  <a:pt x="8666035" y="968469"/>
                </a:lnTo>
                <a:lnTo>
                  <a:pt x="8655632" y="965386"/>
                </a:lnTo>
                <a:lnTo>
                  <a:pt x="8652829" y="963911"/>
                </a:lnTo>
                <a:lnTo>
                  <a:pt x="8646588" y="961757"/>
                </a:lnTo>
                <a:lnTo>
                  <a:pt x="8628806" y="951270"/>
                </a:lnTo>
                <a:lnTo>
                  <a:pt x="8619795" y="946528"/>
                </a:lnTo>
                <a:lnTo>
                  <a:pt x="8617273" y="944468"/>
                </a:lnTo>
                <a:lnTo>
                  <a:pt x="8611707" y="941186"/>
                </a:lnTo>
                <a:lnTo>
                  <a:pt x="8606954" y="936039"/>
                </a:lnTo>
                <a:lnTo>
                  <a:pt x="8587473" y="920126"/>
                </a:lnTo>
                <a:lnTo>
                  <a:pt x="8575234" y="901695"/>
                </a:lnTo>
                <a:lnTo>
                  <a:pt x="8558117" y="883162"/>
                </a:lnTo>
                <a:lnTo>
                  <a:pt x="8551763" y="866350"/>
                </a:lnTo>
                <a:lnTo>
                  <a:pt x="8542212" y="851967"/>
                </a:lnTo>
                <a:lnTo>
                  <a:pt x="8537844" y="829519"/>
                </a:lnTo>
                <a:lnTo>
                  <a:pt x="8530194" y="809278"/>
                </a:lnTo>
                <a:lnTo>
                  <a:pt x="8528145" y="779677"/>
                </a:lnTo>
                <a:lnTo>
                  <a:pt x="8527125" y="774434"/>
                </a:lnTo>
                <a:lnTo>
                  <a:pt x="8527610" y="771942"/>
                </a:lnTo>
                <a:lnTo>
                  <a:pt x="8527398" y="768879"/>
                </a:lnTo>
                <a:cubicBezTo>
                  <a:pt x="8527809" y="755195"/>
                  <a:pt x="8529597" y="741349"/>
                  <a:pt x="8532866" y="727506"/>
                </a:cubicBezTo>
                <a:lnTo>
                  <a:pt x="8539052" y="713137"/>
                </a:lnTo>
                <a:lnTo>
                  <a:pt x="8542212" y="696901"/>
                </a:lnTo>
                <a:lnTo>
                  <a:pt x="8553108" y="680492"/>
                </a:lnTo>
                <a:lnTo>
                  <a:pt x="8561314" y="661433"/>
                </a:lnTo>
                <a:lnTo>
                  <a:pt x="8576600" y="645115"/>
                </a:lnTo>
                <a:lnTo>
                  <a:pt x="8587472" y="628742"/>
                </a:lnTo>
                <a:lnTo>
                  <a:pt x="8606485" y="613212"/>
                </a:lnTo>
                <a:lnTo>
                  <a:pt x="8608773" y="610769"/>
                </a:lnTo>
                <a:lnTo>
                  <a:pt x="8610724" y="609749"/>
                </a:lnTo>
                <a:lnTo>
                  <a:pt x="8619794" y="602340"/>
                </a:lnTo>
                <a:cubicBezTo>
                  <a:pt x="8631219" y="594797"/>
                  <a:pt x="8643230" y="588510"/>
                  <a:pt x="8655631" y="583481"/>
                </a:cubicBezTo>
                <a:lnTo>
                  <a:pt x="8667964" y="579826"/>
                </a:lnTo>
                <a:lnTo>
                  <a:pt x="8669903" y="578812"/>
                </a:lnTo>
                <a:lnTo>
                  <a:pt x="8672770" y="578402"/>
                </a:lnTo>
                <a:lnTo>
                  <a:pt x="8693812" y="572166"/>
                </a:lnTo>
                <a:cubicBezTo>
                  <a:pt x="8706799" y="569651"/>
                  <a:pt x="8719982" y="568394"/>
                  <a:pt x="8733165" y="568394"/>
                </a:cubicBezTo>
                <a:close/>
                <a:moveTo>
                  <a:pt x="9846351" y="162856"/>
                </a:moveTo>
                <a:cubicBezTo>
                  <a:pt x="9869459" y="162856"/>
                  <a:pt x="9888955" y="176576"/>
                  <a:pt x="9897259" y="196434"/>
                </a:cubicBezTo>
                <a:lnTo>
                  <a:pt x="9901550" y="218047"/>
                </a:lnTo>
                <a:lnTo>
                  <a:pt x="9901550" y="218073"/>
                </a:lnTo>
                <a:lnTo>
                  <a:pt x="9897259" y="239415"/>
                </a:lnTo>
                <a:cubicBezTo>
                  <a:pt x="9888955" y="259183"/>
                  <a:pt x="9869459" y="273264"/>
                  <a:pt x="9846351" y="273264"/>
                </a:cubicBezTo>
                <a:lnTo>
                  <a:pt x="9842370" y="272457"/>
                </a:lnTo>
                <a:lnTo>
                  <a:pt x="9824999" y="268965"/>
                </a:lnTo>
                <a:lnTo>
                  <a:pt x="9824937" y="268924"/>
                </a:lnTo>
                <a:lnTo>
                  <a:pt x="9824728" y="268881"/>
                </a:lnTo>
                <a:lnTo>
                  <a:pt x="9814698" y="262071"/>
                </a:lnTo>
                <a:lnTo>
                  <a:pt x="9807437" y="257211"/>
                </a:lnTo>
                <a:lnTo>
                  <a:pt x="9807348" y="257080"/>
                </a:lnTo>
                <a:lnTo>
                  <a:pt x="9807197" y="256977"/>
                </a:lnTo>
                <a:lnTo>
                  <a:pt x="9801574" y="248576"/>
                </a:lnTo>
                <a:lnTo>
                  <a:pt x="9795533" y="239680"/>
                </a:lnTo>
                <a:lnTo>
                  <a:pt x="9795495" y="239494"/>
                </a:lnTo>
                <a:lnTo>
                  <a:pt x="9795442" y="239415"/>
                </a:lnTo>
                <a:cubicBezTo>
                  <a:pt x="9792674" y="232826"/>
                  <a:pt x="9791150" y="225605"/>
                  <a:pt x="9791150" y="218063"/>
                </a:cubicBezTo>
                <a:lnTo>
                  <a:pt x="9791151" y="218060"/>
                </a:lnTo>
                <a:lnTo>
                  <a:pt x="9791150" y="218057"/>
                </a:lnTo>
                <a:cubicBezTo>
                  <a:pt x="9791150" y="210515"/>
                  <a:pt x="9792674" y="203294"/>
                  <a:pt x="9795442" y="196704"/>
                </a:cubicBezTo>
                <a:lnTo>
                  <a:pt x="9795495" y="196626"/>
                </a:lnTo>
                <a:lnTo>
                  <a:pt x="9795533" y="196440"/>
                </a:lnTo>
                <a:lnTo>
                  <a:pt x="9801568" y="187552"/>
                </a:lnTo>
                <a:lnTo>
                  <a:pt x="9807197" y="179143"/>
                </a:lnTo>
                <a:lnTo>
                  <a:pt x="9807349" y="179040"/>
                </a:lnTo>
                <a:lnTo>
                  <a:pt x="9807437" y="178909"/>
                </a:lnTo>
                <a:lnTo>
                  <a:pt x="9814685" y="174058"/>
                </a:lnTo>
                <a:lnTo>
                  <a:pt x="9824728" y="167238"/>
                </a:lnTo>
                <a:lnTo>
                  <a:pt x="9824937" y="167196"/>
                </a:lnTo>
                <a:lnTo>
                  <a:pt x="9824999" y="167155"/>
                </a:lnTo>
                <a:lnTo>
                  <a:pt x="9842295" y="163678"/>
                </a:lnTo>
                <a:close/>
                <a:moveTo>
                  <a:pt x="9289846" y="94817"/>
                </a:moveTo>
                <a:cubicBezTo>
                  <a:pt x="9357885" y="94817"/>
                  <a:pt x="9413086" y="150018"/>
                  <a:pt x="9413086" y="218057"/>
                </a:cubicBezTo>
                <a:lnTo>
                  <a:pt x="9413085" y="218060"/>
                </a:lnTo>
                <a:lnTo>
                  <a:pt x="9413086" y="218064"/>
                </a:lnTo>
                <a:cubicBezTo>
                  <a:pt x="9413086" y="286103"/>
                  <a:pt x="9357885" y="341304"/>
                  <a:pt x="9289846" y="341304"/>
                </a:cubicBezTo>
                <a:cubicBezTo>
                  <a:pt x="9221807" y="341304"/>
                  <a:pt x="9166606" y="286103"/>
                  <a:pt x="9166606" y="218064"/>
                </a:cubicBezTo>
                <a:lnTo>
                  <a:pt x="9166607" y="218060"/>
                </a:lnTo>
                <a:lnTo>
                  <a:pt x="9166606" y="218057"/>
                </a:lnTo>
                <a:cubicBezTo>
                  <a:pt x="9166606" y="150018"/>
                  <a:pt x="9221807" y="94817"/>
                  <a:pt x="9289846" y="94817"/>
                </a:cubicBezTo>
                <a:close/>
                <a:moveTo>
                  <a:pt x="8726879" y="5061"/>
                </a:moveTo>
                <a:lnTo>
                  <a:pt x="8732902" y="5478"/>
                </a:lnTo>
                <a:lnTo>
                  <a:pt x="8733282" y="5442"/>
                </a:lnTo>
                <a:lnTo>
                  <a:pt x="8735639" y="5668"/>
                </a:lnTo>
                <a:lnTo>
                  <a:pt x="8768536" y="7945"/>
                </a:lnTo>
                <a:lnTo>
                  <a:pt x="8773514" y="9298"/>
                </a:lnTo>
                <a:lnTo>
                  <a:pt x="8773860" y="9331"/>
                </a:lnTo>
                <a:lnTo>
                  <a:pt x="8776342" y="10066"/>
                </a:lnTo>
                <a:lnTo>
                  <a:pt x="8808159" y="18715"/>
                </a:lnTo>
                <a:lnTo>
                  <a:pt x="8812132" y="20673"/>
                </a:lnTo>
                <a:lnTo>
                  <a:pt x="8813230" y="20999"/>
                </a:lnTo>
                <a:lnTo>
                  <a:pt x="8819708" y="24407"/>
                </a:lnTo>
                <a:lnTo>
                  <a:pt x="8844722" y="36737"/>
                </a:lnTo>
                <a:lnTo>
                  <a:pt x="8846819" y="38674"/>
                </a:lnTo>
                <a:lnTo>
                  <a:pt x="8850184" y="40445"/>
                </a:lnTo>
                <a:cubicBezTo>
                  <a:pt x="8861964" y="48223"/>
                  <a:pt x="8873141" y="57298"/>
                  <a:pt x="8883512" y="67669"/>
                </a:cubicBezTo>
                <a:lnTo>
                  <a:pt x="8891917" y="80327"/>
                </a:lnTo>
                <a:lnTo>
                  <a:pt x="8904553" y="91997"/>
                </a:lnTo>
                <a:lnTo>
                  <a:pt x="8915563" y="115935"/>
                </a:lnTo>
                <a:lnTo>
                  <a:pt x="8930183" y="137952"/>
                </a:lnTo>
                <a:lnTo>
                  <a:pt x="8933479" y="154886"/>
                </a:lnTo>
                <a:lnTo>
                  <a:pt x="8939806" y="168642"/>
                </a:lnTo>
                <a:cubicBezTo>
                  <a:pt x="8943177" y="182917"/>
                  <a:pt x="8945021" y="197195"/>
                  <a:pt x="8945445" y="211305"/>
                </a:cubicBezTo>
                <a:lnTo>
                  <a:pt x="8945186" y="215047"/>
                </a:lnTo>
                <a:lnTo>
                  <a:pt x="8945741" y="217900"/>
                </a:lnTo>
                <a:lnTo>
                  <a:pt x="8944573" y="223902"/>
                </a:lnTo>
                <a:lnTo>
                  <a:pt x="8942561" y="252962"/>
                </a:lnTo>
                <a:lnTo>
                  <a:pt x="8935051" y="272834"/>
                </a:lnTo>
                <a:lnTo>
                  <a:pt x="8930184" y="297848"/>
                </a:lnTo>
                <a:lnTo>
                  <a:pt x="8919541" y="313876"/>
                </a:lnTo>
                <a:lnTo>
                  <a:pt x="8913769" y="329149"/>
                </a:lnTo>
                <a:lnTo>
                  <a:pt x="8898219" y="345985"/>
                </a:lnTo>
                <a:lnTo>
                  <a:pt x="8883513" y="368131"/>
                </a:lnTo>
                <a:lnTo>
                  <a:pt x="8860106" y="387251"/>
                </a:lnTo>
                <a:lnTo>
                  <a:pt x="8858509" y="388980"/>
                </a:lnTo>
                <a:lnTo>
                  <a:pt x="8856639" y="390083"/>
                </a:lnTo>
                <a:lnTo>
                  <a:pt x="8850184" y="395355"/>
                </a:lnTo>
                <a:lnTo>
                  <a:pt x="8827118" y="407493"/>
                </a:lnTo>
                <a:lnTo>
                  <a:pt x="8822541" y="410192"/>
                </a:lnTo>
                <a:lnTo>
                  <a:pt x="8820935" y="410747"/>
                </a:lnTo>
                <a:lnTo>
                  <a:pt x="8813231" y="414801"/>
                </a:lnTo>
                <a:lnTo>
                  <a:pt x="8784638" y="423275"/>
                </a:lnTo>
                <a:lnTo>
                  <a:pt x="8781862" y="424233"/>
                </a:lnTo>
                <a:lnTo>
                  <a:pt x="8781037" y="424342"/>
                </a:lnTo>
                <a:lnTo>
                  <a:pt x="8773861" y="426469"/>
                </a:lnTo>
                <a:lnTo>
                  <a:pt x="8741428" y="429577"/>
                </a:lnTo>
                <a:lnTo>
                  <a:pt x="8739200" y="429872"/>
                </a:lnTo>
                <a:lnTo>
                  <a:pt x="8738709" y="429838"/>
                </a:lnTo>
                <a:lnTo>
                  <a:pt x="8733283" y="430358"/>
                </a:lnTo>
                <a:lnTo>
                  <a:pt x="8699647" y="427134"/>
                </a:lnTo>
                <a:lnTo>
                  <a:pt x="8697543" y="426988"/>
                </a:lnTo>
                <a:lnTo>
                  <a:pt x="8697225" y="426902"/>
                </a:lnTo>
                <a:lnTo>
                  <a:pt x="8692704" y="426469"/>
                </a:lnTo>
                <a:lnTo>
                  <a:pt x="8660296" y="416864"/>
                </a:lnTo>
                <a:lnTo>
                  <a:pt x="8657920" y="416218"/>
                </a:lnTo>
                <a:lnTo>
                  <a:pt x="8657623" y="416072"/>
                </a:lnTo>
                <a:lnTo>
                  <a:pt x="8653334" y="414801"/>
                </a:lnTo>
                <a:lnTo>
                  <a:pt x="8628036" y="401488"/>
                </a:lnTo>
                <a:lnTo>
                  <a:pt x="8621357" y="398196"/>
                </a:lnTo>
                <a:lnTo>
                  <a:pt x="8620797" y="397678"/>
                </a:lnTo>
                <a:lnTo>
                  <a:pt x="8616381" y="395354"/>
                </a:lnTo>
                <a:cubicBezTo>
                  <a:pt x="8604600" y="387576"/>
                  <a:pt x="8593423" y="378501"/>
                  <a:pt x="8583052" y="368130"/>
                </a:cubicBezTo>
                <a:lnTo>
                  <a:pt x="8573928" y="354390"/>
                </a:lnTo>
                <a:lnTo>
                  <a:pt x="8561526" y="342936"/>
                </a:lnTo>
                <a:lnTo>
                  <a:pt x="8550719" y="319439"/>
                </a:lnTo>
                <a:lnTo>
                  <a:pt x="8536381" y="297848"/>
                </a:lnTo>
                <a:lnTo>
                  <a:pt x="8533150" y="281241"/>
                </a:lnTo>
                <a:lnTo>
                  <a:pt x="8526273" y="266289"/>
                </a:lnTo>
                <a:cubicBezTo>
                  <a:pt x="8522903" y="252015"/>
                  <a:pt x="8521058" y="237737"/>
                  <a:pt x="8520634" y="223627"/>
                </a:cubicBezTo>
                <a:lnTo>
                  <a:pt x="8520977" y="218681"/>
                </a:lnTo>
                <a:lnTo>
                  <a:pt x="8520825" y="217900"/>
                </a:lnTo>
                <a:lnTo>
                  <a:pt x="8521144" y="216256"/>
                </a:lnTo>
                <a:lnTo>
                  <a:pt x="8523518" y="181970"/>
                </a:lnTo>
                <a:lnTo>
                  <a:pt x="8532378" y="158525"/>
                </a:lnTo>
                <a:lnTo>
                  <a:pt x="8536381" y="137951"/>
                </a:lnTo>
                <a:lnTo>
                  <a:pt x="8545135" y="124769"/>
                </a:lnTo>
                <a:lnTo>
                  <a:pt x="8552310" y="105784"/>
                </a:lnTo>
                <a:lnTo>
                  <a:pt x="8571639" y="84856"/>
                </a:lnTo>
                <a:lnTo>
                  <a:pt x="8583052" y="67669"/>
                </a:lnTo>
                <a:lnTo>
                  <a:pt x="8601218" y="52830"/>
                </a:lnTo>
                <a:lnTo>
                  <a:pt x="8607570" y="45953"/>
                </a:lnTo>
                <a:lnTo>
                  <a:pt x="8615007" y="41567"/>
                </a:lnTo>
                <a:lnTo>
                  <a:pt x="8616381" y="40445"/>
                </a:lnTo>
                <a:lnTo>
                  <a:pt x="8621291" y="37861"/>
                </a:lnTo>
                <a:lnTo>
                  <a:pt x="8643537" y="24741"/>
                </a:lnTo>
                <a:lnTo>
                  <a:pt x="8651343" y="22046"/>
                </a:lnTo>
                <a:lnTo>
                  <a:pt x="8653334" y="20998"/>
                </a:lnTo>
                <a:lnTo>
                  <a:pt x="8660724" y="18809"/>
                </a:lnTo>
                <a:lnTo>
                  <a:pt x="8684216" y="10700"/>
                </a:lnTo>
                <a:lnTo>
                  <a:pt x="8691197" y="9777"/>
                </a:lnTo>
                <a:lnTo>
                  <a:pt x="8692704" y="9331"/>
                </a:lnTo>
                <a:lnTo>
                  <a:pt x="8699514" y="8678"/>
                </a:lnTo>
                <a:close/>
                <a:moveTo>
                  <a:pt x="0" y="0"/>
                </a:moveTo>
                <a:lnTo>
                  <a:pt x="8399148" y="0"/>
                </a:lnTo>
                <a:lnTo>
                  <a:pt x="8442653" y="52212"/>
                </a:lnTo>
                <a:cubicBezTo>
                  <a:pt x="8472741" y="100272"/>
                  <a:pt x="8490071" y="157078"/>
                  <a:pt x="8490071" y="218056"/>
                </a:cubicBezTo>
                <a:cubicBezTo>
                  <a:pt x="8490071" y="341296"/>
                  <a:pt x="8418823" y="447847"/>
                  <a:pt x="8315481" y="496629"/>
                </a:cubicBezTo>
                <a:cubicBezTo>
                  <a:pt x="8415613" y="547337"/>
                  <a:pt x="8484936" y="651321"/>
                  <a:pt x="8484936" y="771993"/>
                </a:cubicBezTo>
                <a:cubicBezTo>
                  <a:pt x="8484936" y="905503"/>
                  <a:pt x="8399567" y="1019115"/>
                  <a:pt x="8280820" y="1062120"/>
                </a:cubicBezTo>
                <a:cubicBezTo>
                  <a:pt x="8387371" y="1103842"/>
                  <a:pt x="8463112" y="1207184"/>
                  <a:pt x="8463112" y="1328498"/>
                </a:cubicBezTo>
                <a:cubicBezTo>
                  <a:pt x="8463112" y="1486399"/>
                  <a:pt x="8334738" y="1614774"/>
                  <a:pt x="8176837" y="1614774"/>
                </a:cubicBezTo>
                <a:cubicBezTo>
                  <a:pt x="8085048" y="1614774"/>
                  <a:pt x="8003531" y="1571127"/>
                  <a:pt x="7950897" y="1503730"/>
                </a:cubicBezTo>
                <a:cubicBezTo>
                  <a:pt x="7925222" y="1551870"/>
                  <a:pt x="7889918" y="1593592"/>
                  <a:pt x="7846913" y="1626328"/>
                </a:cubicBezTo>
                <a:cubicBezTo>
                  <a:pt x="7891844" y="1665482"/>
                  <a:pt x="7926506" y="1716832"/>
                  <a:pt x="7946404" y="1775243"/>
                </a:cubicBezTo>
                <a:cubicBezTo>
                  <a:pt x="7987484" y="1689232"/>
                  <a:pt x="8074779" y="1629537"/>
                  <a:pt x="8176837" y="1629537"/>
                </a:cubicBezTo>
                <a:cubicBezTo>
                  <a:pt x="8318049" y="1629537"/>
                  <a:pt x="8432302" y="1743791"/>
                  <a:pt x="8432302" y="1885003"/>
                </a:cubicBezTo>
                <a:cubicBezTo>
                  <a:pt x="8432302" y="2026216"/>
                  <a:pt x="8318049" y="2140469"/>
                  <a:pt x="8176837" y="2140469"/>
                </a:cubicBezTo>
                <a:cubicBezTo>
                  <a:pt x="8075420" y="2140469"/>
                  <a:pt x="7987484" y="2080775"/>
                  <a:pt x="7946404" y="1994764"/>
                </a:cubicBezTo>
                <a:cubicBezTo>
                  <a:pt x="7918803" y="2076923"/>
                  <a:pt x="7861034" y="2145604"/>
                  <a:pt x="7786577" y="2186684"/>
                </a:cubicBezTo>
                <a:cubicBezTo>
                  <a:pt x="7870021" y="2241244"/>
                  <a:pt x="7925222" y="2334957"/>
                  <a:pt x="7925222" y="2442150"/>
                </a:cubicBezTo>
                <a:cubicBezTo>
                  <a:pt x="7925222" y="2610963"/>
                  <a:pt x="7788503" y="2747041"/>
                  <a:pt x="7620331" y="2747041"/>
                </a:cubicBezTo>
                <a:cubicBezTo>
                  <a:pt x="7526618" y="2747041"/>
                  <a:pt x="7443174" y="2704677"/>
                  <a:pt x="7387331" y="2638564"/>
                </a:cubicBezTo>
                <a:cubicBezTo>
                  <a:pt x="7359730" y="2683495"/>
                  <a:pt x="7323786" y="2722007"/>
                  <a:pt x="7280780" y="2752175"/>
                </a:cubicBezTo>
                <a:cubicBezTo>
                  <a:pt x="7330204" y="2795823"/>
                  <a:pt x="7366791" y="2854234"/>
                  <a:pt x="7382838" y="2920347"/>
                </a:cubicBezTo>
                <a:cubicBezTo>
                  <a:pt x="7415574" y="2821498"/>
                  <a:pt x="7509288" y="2749608"/>
                  <a:pt x="7619690" y="2749608"/>
                </a:cubicBezTo>
                <a:cubicBezTo>
                  <a:pt x="7758334" y="2749608"/>
                  <a:pt x="7870021" y="2861936"/>
                  <a:pt x="7870021" y="2999939"/>
                </a:cubicBezTo>
                <a:cubicBezTo>
                  <a:pt x="7870021" y="3138584"/>
                  <a:pt x="7757693" y="3250270"/>
                  <a:pt x="7619690" y="3250270"/>
                </a:cubicBezTo>
                <a:cubicBezTo>
                  <a:pt x="7509288" y="3250270"/>
                  <a:pt x="7416216" y="3179022"/>
                  <a:pt x="7382838" y="3079531"/>
                </a:cubicBezTo>
                <a:cubicBezTo>
                  <a:pt x="7355879" y="3188650"/>
                  <a:pt x="7275645" y="3275945"/>
                  <a:pt x="7171019" y="3311890"/>
                </a:cubicBezTo>
                <a:cubicBezTo>
                  <a:pt x="7265375" y="3353612"/>
                  <a:pt x="7331488" y="3447967"/>
                  <a:pt x="7331488" y="3557728"/>
                </a:cubicBezTo>
                <a:cubicBezTo>
                  <a:pt x="7331488" y="3706001"/>
                  <a:pt x="7211458" y="3826031"/>
                  <a:pt x="7063185" y="3826031"/>
                </a:cubicBezTo>
                <a:cubicBezTo>
                  <a:pt x="6954066" y="3826031"/>
                  <a:pt x="6860994" y="3761202"/>
                  <a:pt x="6818631" y="3668130"/>
                </a:cubicBezTo>
                <a:cubicBezTo>
                  <a:pt x="6783328" y="3767621"/>
                  <a:pt x="6701809" y="3845287"/>
                  <a:pt x="6599751" y="3875455"/>
                </a:cubicBezTo>
                <a:cubicBezTo>
                  <a:pt x="6695391" y="3912684"/>
                  <a:pt x="6763429" y="4005114"/>
                  <a:pt x="6763429" y="4114233"/>
                </a:cubicBezTo>
                <a:cubicBezTo>
                  <a:pt x="6763429" y="4256087"/>
                  <a:pt x="6648534" y="4370982"/>
                  <a:pt x="6506680" y="4370982"/>
                </a:cubicBezTo>
                <a:cubicBezTo>
                  <a:pt x="6386008" y="4370982"/>
                  <a:pt x="6284591" y="4286897"/>
                  <a:pt x="6257633" y="4174569"/>
                </a:cubicBezTo>
                <a:cubicBezTo>
                  <a:pt x="6229390" y="4318991"/>
                  <a:pt x="6102299" y="4427467"/>
                  <a:pt x="5950176" y="4427467"/>
                </a:cubicBezTo>
                <a:cubicBezTo>
                  <a:pt x="5846833" y="4427467"/>
                  <a:pt x="5755045" y="4377401"/>
                  <a:pt x="5697918" y="4300376"/>
                </a:cubicBezTo>
                <a:cubicBezTo>
                  <a:pt x="5660047" y="4362638"/>
                  <a:pt x="5603563" y="4412063"/>
                  <a:pt x="5536166" y="4441589"/>
                </a:cubicBezTo>
                <a:cubicBezTo>
                  <a:pt x="5612549" y="4489729"/>
                  <a:pt x="5663899" y="4574457"/>
                  <a:pt x="5663899" y="4671380"/>
                </a:cubicBezTo>
                <a:cubicBezTo>
                  <a:pt x="5663899" y="4820294"/>
                  <a:pt x="5543226" y="4941609"/>
                  <a:pt x="5393671" y="4941609"/>
                </a:cubicBezTo>
                <a:cubicBezTo>
                  <a:pt x="5269788" y="4941609"/>
                  <a:pt x="5165804" y="4857523"/>
                  <a:pt x="5133711" y="4743911"/>
                </a:cubicBezTo>
                <a:cubicBezTo>
                  <a:pt x="5100975" y="4877421"/>
                  <a:pt x="4980303" y="4976270"/>
                  <a:pt x="4837165" y="4976270"/>
                </a:cubicBezTo>
                <a:cubicBezTo>
                  <a:pt x="4722911" y="4976270"/>
                  <a:pt x="4624063" y="4913366"/>
                  <a:pt x="4571430" y="4820936"/>
                </a:cubicBezTo>
                <a:cubicBezTo>
                  <a:pt x="4516871" y="4926204"/>
                  <a:pt x="4407109" y="4998093"/>
                  <a:pt x="4280660" y="4998093"/>
                </a:cubicBezTo>
                <a:cubicBezTo>
                  <a:pt x="4167048" y="4998093"/>
                  <a:pt x="4066274" y="4939683"/>
                  <a:pt x="4007863" y="4851105"/>
                </a:cubicBezTo>
                <a:cubicBezTo>
                  <a:pt x="3960364" y="4925562"/>
                  <a:pt x="3884623" y="4980121"/>
                  <a:pt x="3796045" y="4999377"/>
                </a:cubicBezTo>
                <a:cubicBezTo>
                  <a:pt x="3892968" y="5030187"/>
                  <a:pt x="3962932" y="5120692"/>
                  <a:pt x="3962932" y="5227885"/>
                </a:cubicBezTo>
                <a:cubicBezTo>
                  <a:pt x="3962932" y="5360111"/>
                  <a:pt x="3855739" y="5467304"/>
                  <a:pt x="3723513" y="5467304"/>
                </a:cubicBezTo>
                <a:cubicBezTo>
                  <a:pt x="3591287" y="5467304"/>
                  <a:pt x="3484094" y="5360111"/>
                  <a:pt x="3484094" y="5227885"/>
                </a:cubicBezTo>
                <a:cubicBezTo>
                  <a:pt x="3484094" y="5120692"/>
                  <a:pt x="3554058" y="5030187"/>
                  <a:pt x="3650981" y="4999377"/>
                </a:cubicBezTo>
                <a:cubicBezTo>
                  <a:pt x="3565612" y="4980763"/>
                  <a:pt x="3492438" y="4929413"/>
                  <a:pt x="3444939" y="4859449"/>
                </a:cubicBezTo>
                <a:cubicBezTo>
                  <a:pt x="3397441" y="4929413"/>
                  <a:pt x="3324267" y="4980763"/>
                  <a:pt x="3238898" y="4999377"/>
                </a:cubicBezTo>
                <a:cubicBezTo>
                  <a:pt x="3335821" y="5030187"/>
                  <a:pt x="3405785" y="5120692"/>
                  <a:pt x="3405785" y="5227885"/>
                </a:cubicBezTo>
                <a:cubicBezTo>
                  <a:pt x="3405785" y="5360111"/>
                  <a:pt x="3298592" y="5467304"/>
                  <a:pt x="3166366" y="5467304"/>
                </a:cubicBezTo>
                <a:cubicBezTo>
                  <a:pt x="3034140" y="5467304"/>
                  <a:pt x="2926947" y="5360111"/>
                  <a:pt x="2926947" y="5227885"/>
                </a:cubicBezTo>
                <a:cubicBezTo>
                  <a:pt x="2926947" y="5120692"/>
                  <a:pt x="2996911" y="5030187"/>
                  <a:pt x="3093834" y="4999377"/>
                </a:cubicBezTo>
                <a:cubicBezTo>
                  <a:pt x="3004614" y="4979480"/>
                  <a:pt x="2929514" y="4925562"/>
                  <a:pt x="2882016" y="4851105"/>
                </a:cubicBezTo>
                <a:cubicBezTo>
                  <a:pt x="2823605" y="4939683"/>
                  <a:pt x="2723473" y="4998093"/>
                  <a:pt x="2609219" y="4998093"/>
                </a:cubicBezTo>
                <a:cubicBezTo>
                  <a:pt x="2482770" y="4998093"/>
                  <a:pt x="2373009" y="4926204"/>
                  <a:pt x="2318450" y="4820936"/>
                </a:cubicBezTo>
                <a:cubicBezTo>
                  <a:pt x="2266458" y="4913366"/>
                  <a:pt x="2166968" y="4976270"/>
                  <a:pt x="2052714" y="4976270"/>
                </a:cubicBezTo>
                <a:cubicBezTo>
                  <a:pt x="1908934" y="4976270"/>
                  <a:pt x="1788904" y="4877421"/>
                  <a:pt x="1756168" y="4743911"/>
                </a:cubicBezTo>
                <a:cubicBezTo>
                  <a:pt x="1724716" y="4858165"/>
                  <a:pt x="1620091" y="4941609"/>
                  <a:pt x="1496209" y="4941609"/>
                </a:cubicBezTo>
                <a:cubicBezTo>
                  <a:pt x="1347294" y="4941609"/>
                  <a:pt x="1225980" y="4820936"/>
                  <a:pt x="1225980" y="4671380"/>
                </a:cubicBezTo>
                <a:cubicBezTo>
                  <a:pt x="1225980" y="4574457"/>
                  <a:pt x="1276688" y="4489087"/>
                  <a:pt x="1353713" y="4441589"/>
                </a:cubicBezTo>
                <a:cubicBezTo>
                  <a:pt x="1286316" y="4412063"/>
                  <a:pt x="1229831" y="4362638"/>
                  <a:pt x="1191961" y="4300376"/>
                </a:cubicBezTo>
                <a:cubicBezTo>
                  <a:pt x="1134834" y="4377401"/>
                  <a:pt x="1043046" y="4427467"/>
                  <a:pt x="939704" y="4427467"/>
                </a:cubicBezTo>
                <a:cubicBezTo>
                  <a:pt x="787580" y="4427467"/>
                  <a:pt x="660489" y="4318349"/>
                  <a:pt x="632246" y="4174569"/>
                </a:cubicBezTo>
                <a:cubicBezTo>
                  <a:pt x="605287" y="4287539"/>
                  <a:pt x="503871" y="4370982"/>
                  <a:pt x="383199" y="4370982"/>
                </a:cubicBezTo>
                <a:cubicBezTo>
                  <a:pt x="241345" y="4370982"/>
                  <a:pt x="126449" y="4256087"/>
                  <a:pt x="126449" y="4114233"/>
                </a:cubicBezTo>
                <a:cubicBezTo>
                  <a:pt x="126449" y="4005756"/>
                  <a:pt x="194488" y="3912684"/>
                  <a:pt x="290127" y="3875455"/>
                </a:cubicBezTo>
                <a:cubicBezTo>
                  <a:pt x="188711" y="3845929"/>
                  <a:pt x="107835" y="3769546"/>
                  <a:pt x="71890" y="3670698"/>
                </a:cubicBezTo>
                <a:cubicBezTo>
                  <a:pt x="55201" y="3706643"/>
                  <a:pt x="30168" y="3738736"/>
                  <a:pt x="0" y="3764411"/>
                </a:cubicBezTo>
                <a:close/>
              </a:path>
            </a:pathLst>
          </a:custGeom>
        </p:spPr>
        <p:txBody>
          <a:bodyPr wrap="square" anchor="ctr" anchorCtr="0">
            <a:noAutofit/>
          </a:bodyPr>
          <a:lstStyle>
            <a:lvl1pPr marL="0" indent="0" algn="ctr">
              <a:buNone/>
              <a:defRPr/>
            </a:lvl1pPr>
          </a:lstStyle>
          <a:p>
            <a:r>
              <a:rPr lang="en-US"/>
              <a:t>Add image</a:t>
            </a:r>
          </a:p>
        </p:txBody>
      </p:sp>
      <p:sp>
        <p:nvSpPr>
          <p:cNvPr id="340" name="Slide Number Placeholder 339">
            <a:extLst>
              <a:ext uri="{FF2B5EF4-FFF2-40B4-BE49-F238E27FC236}">
                <a16:creationId xmlns:a16="http://schemas.microsoft.com/office/drawing/2014/main" id="{05CED6C7-9660-41DF-B0AE-203005F87BB4}"/>
              </a:ext>
            </a:extLst>
          </p:cNvPr>
          <p:cNvSpPr>
            <a:spLocks noGrp="1"/>
          </p:cNvSpPr>
          <p:nvPr>
            <p:ph type="sldNum" sz="quarter" idx="21"/>
          </p:nvPr>
        </p:nvSpPr>
        <p:spPr/>
        <p:txBody>
          <a:bodyPr/>
          <a:lstStyle/>
          <a:p>
            <a:fld id="{9E2BE927-25C7-4379-86F1-C17ED9D2A7F2}" type="slidenum">
              <a:rPr lang="en-US" smtClean="0"/>
              <a:pPr/>
              <a:t>‹#›</a:t>
            </a:fld>
            <a:endParaRPr lang="en-US"/>
          </a:p>
        </p:txBody>
      </p:sp>
      <p:cxnSp>
        <p:nvCxnSpPr>
          <p:cNvPr id="10" name="Straight Connector 9">
            <a:extLst>
              <a:ext uri="{FF2B5EF4-FFF2-40B4-BE49-F238E27FC236}">
                <a16:creationId xmlns:a16="http://schemas.microsoft.com/office/drawing/2014/main" id="{3C671CAD-EFA0-4FF6-B475-A267CC785C76}"/>
              </a:ext>
            </a:extLst>
          </p:cNvPr>
          <p:cNvCxnSpPr>
            <a:cxnSpLocks/>
          </p:cNvCxnSpPr>
          <p:nvPr userDrawn="1"/>
        </p:nvCxnSpPr>
        <p:spPr>
          <a:xfrm>
            <a:off x="10099675" y="4702715"/>
            <a:ext cx="173200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31991030"/>
      </p:ext>
    </p:extLst>
  </p:cSld>
  <p:clrMapOvr>
    <a:masterClrMapping/>
  </p:clrMapOvr>
  <p:extLst>
    <p:ext uri="{DCECCB84-F9BA-43D5-87BE-67443E8EF086}">
      <p15:sldGuideLst xmlns:p15="http://schemas.microsoft.com/office/powerpoint/2012/main">
        <p15:guide id="1" orient="horz" pos="170" userDrawn="1">
          <p15:clr>
            <a:srgbClr val="717275"/>
          </p15:clr>
        </p15:guide>
        <p15:guide id="2" orient="horz" pos="762" userDrawn="1">
          <p15:clr>
            <a:srgbClr val="717275"/>
          </p15:clr>
        </p15:guide>
        <p15:guide id="3" orient="horz" pos="1133" userDrawn="1">
          <p15:clr>
            <a:srgbClr val="FF96FF"/>
          </p15:clr>
        </p15:guide>
        <p15:guide id="4" orient="horz" pos="3753" userDrawn="1">
          <p15:clr>
            <a:srgbClr val="FF96FF"/>
          </p15:clr>
        </p15:guide>
        <p15:guide id="5" pos="226" userDrawn="1">
          <p15:clr>
            <a:srgbClr val="FF96FF"/>
          </p15:clr>
        </p15:guide>
        <p15:guide id="6" pos="1323" userDrawn="1">
          <p15:clr>
            <a:srgbClr val="FF96FF"/>
          </p15:clr>
        </p15:guide>
        <p15:guide id="7" pos="1453" userDrawn="1">
          <p15:clr>
            <a:srgbClr val="FF96FF"/>
          </p15:clr>
        </p15:guide>
        <p15:guide id="8" pos="2547" userDrawn="1">
          <p15:clr>
            <a:srgbClr val="FF96FF"/>
          </p15:clr>
        </p15:guide>
        <p15:guide id="9" pos="2680" userDrawn="1">
          <p15:clr>
            <a:srgbClr val="FF96FF"/>
          </p15:clr>
        </p15:guide>
        <p15:guide id="10" pos="3795" userDrawn="1">
          <p15:clr>
            <a:srgbClr val="FF96FF"/>
          </p15:clr>
        </p15:guide>
        <p15:guide id="11" pos="3908" userDrawn="1">
          <p15:clr>
            <a:srgbClr val="FF96FF"/>
          </p15:clr>
        </p15:guide>
        <p15:guide id="12" pos="4999" userDrawn="1">
          <p15:clr>
            <a:srgbClr val="FF96FF"/>
          </p15:clr>
        </p15:guide>
        <p15:guide id="13" pos="5135" userDrawn="1">
          <p15:clr>
            <a:srgbClr val="FF96FF"/>
          </p15:clr>
        </p15:guide>
        <p15:guide id="14" pos="6226" userDrawn="1">
          <p15:clr>
            <a:srgbClr val="FF96FF"/>
          </p15:clr>
        </p15:guide>
        <p15:guide id="15" pos="6362" userDrawn="1">
          <p15:clr>
            <a:srgbClr val="FF96FF"/>
          </p15:clr>
        </p15:guide>
        <p15:guide id="16" pos="7453" userDrawn="1">
          <p15:clr>
            <a:srgbClr val="FF96FF"/>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Biography and Dot Screen Picture">
    <p:spTree>
      <p:nvGrpSpPr>
        <p:cNvPr id="1" name=""/>
        <p:cNvGrpSpPr/>
        <p:nvPr/>
      </p:nvGrpSpPr>
      <p:grpSpPr>
        <a:xfrm>
          <a:off x="0" y="0"/>
          <a:ext cx="0" cy="0"/>
          <a:chOff x="0" y="0"/>
          <a:chExt cx="0" cy="0"/>
        </a:xfrm>
      </p:grpSpPr>
      <p:sp>
        <p:nvSpPr>
          <p:cNvPr id="6" name="Guides" hidden="1">
            <a:extLst>
              <a:ext uri="{FF2B5EF4-FFF2-40B4-BE49-F238E27FC236}">
                <a16:creationId xmlns:a16="http://schemas.microsoft.com/office/drawing/2014/main" id="{53DE0FE0-6D29-4965-A5CE-ABC21AEA398E}"/>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9" name="Picture Placeholder 8">
            <a:extLst>
              <a:ext uri="{FF2B5EF4-FFF2-40B4-BE49-F238E27FC236}">
                <a16:creationId xmlns:a16="http://schemas.microsoft.com/office/drawing/2014/main" id="{5C854EB1-7CCC-45DE-AF0F-E195688CE364}"/>
              </a:ext>
            </a:extLst>
          </p:cNvPr>
          <p:cNvSpPr>
            <a:spLocks noGrp="1"/>
          </p:cNvSpPr>
          <p:nvPr>
            <p:ph type="pic" sz="quarter" idx="10" hasCustomPrompt="1"/>
          </p:nvPr>
        </p:nvSpPr>
        <p:spPr>
          <a:xfrm>
            <a:off x="5575736" y="0"/>
            <a:ext cx="6616264" cy="6858000"/>
          </a:xfrm>
          <a:custGeom>
            <a:avLst/>
            <a:gdLst>
              <a:gd name="connsiteX0" fmla="*/ 56772 w 6616264"/>
              <a:gd name="connsiteY0" fmla="*/ 6855419 h 6858000"/>
              <a:gd name="connsiteX1" fmla="*/ 69029 w 6616264"/>
              <a:gd name="connsiteY1" fmla="*/ 6858000 h 6858000"/>
              <a:gd name="connsiteX2" fmla="*/ 44514 w 6616264"/>
              <a:gd name="connsiteY2" fmla="*/ 6858000 h 6858000"/>
              <a:gd name="connsiteX3" fmla="*/ 56772 w 6616264"/>
              <a:gd name="connsiteY3" fmla="*/ 6855419 h 6858000"/>
              <a:gd name="connsiteX4" fmla="*/ 629011 w 6616264"/>
              <a:gd name="connsiteY4" fmla="*/ 6807680 h 6858000"/>
              <a:gd name="connsiteX5" fmla="*/ 703848 w 6616264"/>
              <a:gd name="connsiteY5" fmla="*/ 6858000 h 6858000"/>
              <a:gd name="connsiteX6" fmla="*/ 554820 w 6616264"/>
              <a:gd name="connsiteY6" fmla="*/ 6858000 h 6858000"/>
              <a:gd name="connsiteX7" fmla="*/ 629011 w 6616264"/>
              <a:gd name="connsiteY7" fmla="*/ 6807680 h 6858000"/>
              <a:gd name="connsiteX8" fmla="*/ 1201250 w 6616264"/>
              <a:gd name="connsiteY8" fmla="*/ 6737359 h 6858000"/>
              <a:gd name="connsiteX9" fmla="*/ 1348988 w 6616264"/>
              <a:gd name="connsiteY9" fmla="*/ 6858000 h 6858000"/>
              <a:gd name="connsiteX10" fmla="*/ 1053513 w 6616264"/>
              <a:gd name="connsiteY10" fmla="*/ 6858000 h 6858000"/>
              <a:gd name="connsiteX11" fmla="*/ 1201250 w 6616264"/>
              <a:gd name="connsiteY11" fmla="*/ 6737359 h 6858000"/>
              <a:gd name="connsiteX12" fmla="*/ 56772 w 6616264"/>
              <a:gd name="connsiteY12" fmla="*/ 6273504 h 6858000"/>
              <a:gd name="connsiteX13" fmla="*/ 99350 w 6616264"/>
              <a:gd name="connsiteY13" fmla="*/ 6316083 h 6858000"/>
              <a:gd name="connsiteX14" fmla="*/ 56772 w 6616264"/>
              <a:gd name="connsiteY14" fmla="*/ 6358662 h 6858000"/>
              <a:gd name="connsiteX15" fmla="*/ 14192 w 6616264"/>
              <a:gd name="connsiteY15" fmla="*/ 6316083 h 6858000"/>
              <a:gd name="connsiteX16" fmla="*/ 56772 w 6616264"/>
              <a:gd name="connsiteY16" fmla="*/ 6273504 h 6858000"/>
              <a:gd name="connsiteX17" fmla="*/ 629011 w 6616264"/>
              <a:gd name="connsiteY17" fmla="*/ 6216086 h 6858000"/>
              <a:gd name="connsiteX18" fmla="*/ 729008 w 6616264"/>
              <a:gd name="connsiteY18" fmla="*/ 6316082 h 6858000"/>
              <a:gd name="connsiteX19" fmla="*/ 629011 w 6616264"/>
              <a:gd name="connsiteY19" fmla="*/ 6416080 h 6858000"/>
              <a:gd name="connsiteX20" fmla="*/ 529015 w 6616264"/>
              <a:gd name="connsiteY20" fmla="*/ 6316082 h 6858000"/>
              <a:gd name="connsiteX21" fmla="*/ 629011 w 6616264"/>
              <a:gd name="connsiteY21" fmla="*/ 6216086 h 6858000"/>
              <a:gd name="connsiteX22" fmla="*/ 1201251 w 6616264"/>
              <a:gd name="connsiteY22" fmla="*/ 6134799 h 6858000"/>
              <a:gd name="connsiteX23" fmla="*/ 1382536 w 6616264"/>
              <a:gd name="connsiteY23" fmla="*/ 6316083 h 6858000"/>
              <a:gd name="connsiteX24" fmla="*/ 1201251 w 6616264"/>
              <a:gd name="connsiteY24" fmla="*/ 6497367 h 6858000"/>
              <a:gd name="connsiteX25" fmla="*/ 1019967 w 6616264"/>
              <a:gd name="connsiteY25" fmla="*/ 6316083 h 6858000"/>
              <a:gd name="connsiteX26" fmla="*/ 1201251 w 6616264"/>
              <a:gd name="connsiteY26" fmla="*/ 6134799 h 6858000"/>
              <a:gd name="connsiteX27" fmla="*/ 56773 w 6616264"/>
              <a:gd name="connsiteY27" fmla="*/ 5692878 h 6858000"/>
              <a:gd name="connsiteX28" fmla="*/ 107738 w 6616264"/>
              <a:gd name="connsiteY28" fmla="*/ 5743844 h 6858000"/>
              <a:gd name="connsiteX29" fmla="*/ 56773 w 6616264"/>
              <a:gd name="connsiteY29" fmla="*/ 5794810 h 6858000"/>
              <a:gd name="connsiteX30" fmla="*/ 5806 w 6616264"/>
              <a:gd name="connsiteY30" fmla="*/ 5743844 h 6858000"/>
              <a:gd name="connsiteX31" fmla="*/ 56773 w 6616264"/>
              <a:gd name="connsiteY31" fmla="*/ 5692878 h 6858000"/>
              <a:gd name="connsiteX32" fmla="*/ 629011 w 6616264"/>
              <a:gd name="connsiteY32" fmla="*/ 5627718 h 6858000"/>
              <a:gd name="connsiteX33" fmla="*/ 744491 w 6616264"/>
              <a:gd name="connsiteY33" fmla="*/ 5743198 h 6858000"/>
              <a:gd name="connsiteX34" fmla="*/ 629011 w 6616264"/>
              <a:gd name="connsiteY34" fmla="*/ 5858678 h 6858000"/>
              <a:gd name="connsiteX35" fmla="*/ 513532 w 6616264"/>
              <a:gd name="connsiteY35" fmla="*/ 5743198 h 6858000"/>
              <a:gd name="connsiteX36" fmla="*/ 629011 w 6616264"/>
              <a:gd name="connsiteY36" fmla="*/ 5627718 h 6858000"/>
              <a:gd name="connsiteX37" fmla="*/ 1201250 w 6616264"/>
              <a:gd name="connsiteY37" fmla="*/ 5539979 h 6858000"/>
              <a:gd name="connsiteX38" fmla="*/ 1404470 w 6616264"/>
              <a:gd name="connsiteY38" fmla="*/ 5743198 h 6858000"/>
              <a:gd name="connsiteX39" fmla="*/ 1201250 w 6616264"/>
              <a:gd name="connsiteY39" fmla="*/ 5946418 h 6858000"/>
              <a:gd name="connsiteX40" fmla="*/ 998031 w 6616264"/>
              <a:gd name="connsiteY40" fmla="*/ 5743198 h 6858000"/>
              <a:gd name="connsiteX41" fmla="*/ 1201250 w 6616264"/>
              <a:gd name="connsiteY41" fmla="*/ 5539979 h 6858000"/>
              <a:gd name="connsiteX42" fmla="*/ 56772 w 6616264"/>
              <a:gd name="connsiteY42" fmla="*/ 5114187 h 6858000"/>
              <a:gd name="connsiteX43" fmla="*/ 113543 w 6616264"/>
              <a:gd name="connsiteY43" fmla="*/ 5170959 h 6858000"/>
              <a:gd name="connsiteX44" fmla="*/ 56772 w 6616264"/>
              <a:gd name="connsiteY44" fmla="*/ 5227731 h 6858000"/>
              <a:gd name="connsiteX45" fmla="*/ 0 w 6616264"/>
              <a:gd name="connsiteY45" fmla="*/ 5170959 h 6858000"/>
              <a:gd name="connsiteX46" fmla="*/ 56772 w 6616264"/>
              <a:gd name="connsiteY46" fmla="*/ 5114187 h 6858000"/>
              <a:gd name="connsiteX47" fmla="*/ 629011 w 6616264"/>
              <a:gd name="connsiteY47" fmla="*/ 5045802 h 6858000"/>
              <a:gd name="connsiteX48" fmla="*/ 754168 w 6616264"/>
              <a:gd name="connsiteY48" fmla="*/ 5170959 h 6858000"/>
              <a:gd name="connsiteX49" fmla="*/ 629011 w 6616264"/>
              <a:gd name="connsiteY49" fmla="*/ 5296116 h 6858000"/>
              <a:gd name="connsiteX50" fmla="*/ 503854 w 6616264"/>
              <a:gd name="connsiteY50" fmla="*/ 5170959 h 6858000"/>
              <a:gd name="connsiteX51" fmla="*/ 629011 w 6616264"/>
              <a:gd name="connsiteY51" fmla="*/ 5045802 h 6858000"/>
              <a:gd name="connsiteX52" fmla="*/ 1201250 w 6616264"/>
              <a:gd name="connsiteY52" fmla="*/ 4954191 h 6858000"/>
              <a:gd name="connsiteX53" fmla="*/ 1401022 w 6616264"/>
              <a:gd name="connsiteY53" fmla="*/ 5086465 h 6858000"/>
              <a:gd name="connsiteX54" fmla="*/ 1410074 w 6616264"/>
              <a:gd name="connsiteY54" fmla="*/ 5131469 h 6858000"/>
              <a:gd name="connsiteX55" fmla="*/ 1406404 w 6616264"/>
              <a:gd name="connsiteY55" fmla="*/ 5157373 h 6858000"/>
              <a:gd name="connsiteX56" fmla="*/ 1412511 w 6616264"/>
              <a:gd name="connsiteY56" fmla="*/ 5198248 h 6858000"/>
              <a:gd name="connsiteX57" fmla="*/ 1401022 w 6616264"/>
              <a:gd name="connsiteY57" fmla="*/ 5255179 h 6858000"/>
              <a:gd name="connsiteX58" fmla="*/ 1201250 w 6616264"/>
              <a:gd name="connsiteY58" fmla="*/ 5387726 h 6858000"/>
              <a:gd name="connsiteX59" fmla="*/ 984484 w 6616264"/>
              <a:gd name="connsiteY59" fmla="*/ 5170958 h 6858000"/>
              <a:gd name="connsiteX60" fmla="*/ 1201250 w 6616264"/>
              <a:gd name="connsiteY60" fmla="*/ 4954191 h 6858000"/>
              <a:gd name="connsiteX61" fmla="*/ 56772 w 6616264"/>
              <a:gd name="connsiteY61" fmla="*/ 4541947 h 6858000"/>
              <a:gd name="connsiteX62" fmla="*/ 113543 w 6616264"/>
              <a:gd name="connsiteY62" fmla="*/ 4598719 h 6858000"/>
              <a:gd name="connsiteX63" fmla="*/ 56772 w 6616264"/>
              <a:gd name="connsiteY63" fmla="*/ 4655491 h 6858000"/>
              <a:gd name="connsiteX64" fmla="*/ 0 w 6616264"/>
              <a:gd name="connsiteY64" fmla="*/ 4598719 h 6858000"/>
              <a:gd name="connsiteX65" fmla="*/ 56772 w 6616264"/>
              <a:gd name="connsiteY65" fmla="*/ 4541947 h 6858000"/>
              <a:gd name="connsiteX66" fmla="*/ 629011 w 6616264"/>
              <a:gd name="connsiteY66" fmla="*/ 4471627 h 6858000"/>
              <a:gd name="connsiteX67" fmla="*/ 756105 w 6616264"/>
              <a:gd name="connsiteY67" fmla="*/ 4598719 h 6858000"/>
              <a:gd name="connsiteX68" fmla="*/ 629011 w 6616264"/>
              <a:gd name="connsiteY68" fmla="*/ 4725813 h 6858000"/>
              <a:gd name="connsiteX69" fmla="*/ 501919 w 6616264"/>
              <a:gd name="connsiteY69" fmla="*/ 4598719 h 6858000"/>
              <a:gd name="connsiteX70" fmla="*/ 629011 w 6616264"/>
              <a:gd name="connsiteY70" fmla="*/ 4471627 h 6858000"/>
              <a:gd name="connsiteX71" fmla="*/ 1201250 w 6616264"/>
              <a:gd name="connsiteY71" fmla="*/ 4380017 h 6858000"/>
              <a:gd name="connsiteX72" fmla="*/ 1402746 w 6616264"/>
              <a:gd name="connsiteY72" fmla="*/ 4513652 h 6858000"/>
              <a:gd name="connsiteX73" fmla="*/ 1409763 w 6616264"/>
              <a:gd name="connsiteY73" fmla="*/ 4548337 h 6858000"/>
              <a:gd name="connsiteX74" fmla="*/ 1404469 w 6616264"/>
              <a:gd name="connsiteY74" fmla="*/ 4585133 h 6858000"/>
              <a:gd name="connsiteX75" fmla="*/ 1411993 w 6616264"/>
              <a:gd name="connsiteY75" fmla="*/ 4638075 h 6858000"/>
              <a:gd name="connsiteX76" fmla="*/ 1402746 w 6616264"/>
              <a:gd name="connsiteY76" fmla="*/ 4683788 h 6858000"/>
              <a:gd name="connsiteX77" fmla="*/ 1201250 w 6616264"/>
              <a:gd name="connsiteY77" fmla="*/ 4817423 h 6858000"/>
              <a:gd name="connsiteX78" fmla="*/ 982548 w 6616264"/>
              <a:gd name="connsiteY78" fmla="*/ 4598719 h 6858000"/>
              <a:gd name="connsiteX79" fmla="*/ 1201250 w 6616264"/>
              <a:gd name="connsiteY79" fmla="*/ 4380017 h 6858000"/>
              <a:gd name="connsiteX80" fmla="*/ 56772 w 6616264"/>
              <a:gd name="connsiteY80" fmla="*/ 3971644 h 6858000"/>
              <a:gd name="connsiteX81" fmla="*/ 111609 w 6616264"/>
              <a:gd name="connsiteY81" fmla="*/ 4026481 h 6858000"/>
              <a:gd name="connsiteX82" fmla="*/ 56772 w 6616264"/>
              <a:gd name="connsiteY82" fmla="*/ 4081318 h 6858000"/>
              <a:gd name="connsiteX83" fmla="*/ 1935 w 6616264"/>
              <a:gd name="connsiteY83" fmla="*/ 4026481 h 6858000"/>
              <a:gd name="connsiteX84" fmla="*/ 56772 w 6616264"/>
              <a:gd name="connsiteY84" fmla="*/ 3971644 h 6858000"/>
              <a:gd name="connsiteX85" fmla="*/ 629011 w 6616264"/>
              <a:gd name="connsiteY85" fmla="*/ 3905839 h 6858000"/>
              <a:gd name="connsiteX86" fmla="*/ 749008 w 6616264"/>
              <a:gd name="connsiteY86" fmla="*/ 4025835 h 6858000"/>
              <a:gd name="connsiteX87" fmla="*/ 629011 w 6616264"/>
              <a:gd name="connsiteY87" fmla="*/ 4145832 h 6858000"/>
              <a:gd name="connsiteX88" fmla="*/ 509015 w 6616264"/>
              <a:gd name="connsiteY88" fmla="*/ 4025835 h 6858000"/>
              <a:gd name="connsiteX89" fmla="*/ 629011 w 6616264"/>
              <a:gd name="connsiteY89" fmla="*/ 3905839 h 6858000"/>
              <a:gd name="connsiteX90" fmla="*/ 1203892 w 6616264"/>
              <a:gd name="connsiteY90" fmla="*/ 3814492 h 6858000"/>
              <a:gd name="connsiteX91" fmla="*/ 1409012 w 6616264"/>
              <a:gd name="connsiteY91" fmla="*/ 3986118 h 6858000"/>
              <a:gd name="connsiteX92" fmla="*/ 1241229 w 6616264"/>
              <a:gd name="connsiteY92" fmla="*/ 4233929 h 6858000"/>
              <a:gd name="connsiteX93" fmla="*/ 993420 w 6616264"/>
              <a:gd name="connsiteY93" fmla="*/ 4066147 h 6858000"/>
              <a:gd name="connsiteX94" fmla="*/ 1161200 w 6616264"/>
              <a:gd name="connsiteY94" fmla="*/ 3818335 h 6858000"/>
              <a:gd name="connsiteX95" fmla="*/ 1203892 w 6616264"/>
              <a:gd name="connsiteY95" fmla="*/ 3814492 h 6858000"/>
              <a:gd name="connsiteX96" fmla="*/ 56773 w 6616264"/>
              <a:gd name="connsiteY96" fmla="*/ 3404566 h 6858000"/>
              <a:gd name="connsiteX97" fmla="*/ 105802 w 6616264"/>
              <a:gd name="connsiteY97" fmla="*/ 3453597 h 6858000"/>
              <a:gd name="connsiteX98" fmla="*/ 56773 w 6616264"/>
              <a:gd name="connsiteY98" fmla="*/ 3502626 h 6858000"/>
              <a:gd name="connsiteX99" fmla="*/ 7742 w 6616264"/>
              <a:gd name="connsiteY99" fmla="*/ 3453597 h 6858000"/>
              <a:gd name="connsiteX100" fmla="*/ 56773 w 6616264"/>
              <a:gd name="connsiteY100" fmla="*/ 3404566 h 6858000"/>
              <a:gd name="connsiteX101" fmla="*/ 629011 w 6616264"/>
              <a:gd name="connsiteY101" fmla="*/ 3346503 h 6858000"/>
              <a:gd name="connsiteX102" fmla="*/ 736105 w 6616264"/>
              <a:gd name="connsiteY102" fmla="*/ 3453597 h 6858000"/>
              <a:gd name="connsiteX103" fmla="*/ 629011 w 6616264"/>
              <a:gd name="connsiteY103" fmla="*/ 3560690 h 6858000"/>
              <a:gd name="connsiteX104" fmla="*/ 521918 w 6616264"/>
              <a:gd name="connsiteY104" fmla="*/ 3453597 h 6858000"/>
              <a:gd name="connsiteX105" fmla="*/ 629011 w 6616264"/>
              <a:gd name="connsiteY105" fmla="*/ 3346503 h 6858000"/>
              <a:gd name="connsiteX106" fmla="*/ 1202686 w 6616264"/>
              <a:gd name="connsiteY106" fmla="*/ 3262069 h 6858000"/>
              <a:gd name="connsiteX107" fmla="*/ 1378371 w 6616264"/>
              <a:gd name="connsiteY107" fmla="*/ 3380399 h 6858000"/>
              <a:gd name="connsiteX108" fmla="*/ 1274673 w 6616264"/>
              <a:gd name="connsiteY108" fmla="*/ 3630752 h 6858000"/>
              <a:gd name="connsiteX109" fmla="*/ 1024320 w 6616264"/>
              <a:gd name="connsiteY109" fmla="*/ 3527054 h 6858000"/>
              <a:gd name="connsiteX110" fmla="*/ 1128017 w 6616264"/>
              <a:gd name="connsiteY110" fmla="*/ 3276701 h 6858000"/>
              <a:gd name="connsiteX111" fmla="*/ 1202686 w 6616264"/>
              <a:gd name="connsiteY111" fmla="*/ 3262069 h 6858000"/>
              <a:gd name="connsiteX112" fmla="*/ 56772 w 6616264"/>
              <a:gd name="connsiteY112" fmla="*/ 2842649 h 6858000"/>
              <a:gd name="connsiteX113" fmla="*/ 95481 w 6616264"/>
              <a:gd name="connsiteY113" fmla="*/ 2881357 h 6858000"/>
              <a:gd name="connsiteX114" fmla="*/ 56772 w 6616264"/>
              <a:gd name="connsiteY114" fmla="*/ 2920066 h 6858000"/>
              <a:gd name="connsiteX115" fmla="*/ 18064 w 6616264"/>
              <a:gd name="connsiteY115" fmla="*/ 2881357 h 6858000"/>
              <a:gd name="connsiteX116" fmla="*/ 56772 w 6616264"/>
              <a:gd name="connsiteY116" fmla="*/ 2842649 h 6858000"/>
              <a:gd name="connsiteX117" fmla="*/ 629011 w 6616264"/>
              <a:gd name="connsiteY117" fmla="*/ 2794263 h 6858000"/>
              <a:gd name="connsiteX118" fmla="*/ 716105 w 6616264"/>
              <a:gd name="connsiteY118" fmla="*/ 2881357 h 6858000"/>
              <a:gd name="connsiteX119" fmla="*/ 629011 w 6616264"/>
              <a:gd name="connsiteY119" fmla="*/ 2968450 h 6858000"/>
              <a:gd name="connsiteX120" fmla="*/ 541918 w 6616264"/>
              <a:gd name="connsiteY120" fmla="*/ 2881357 h 6858000"/>
              <a:gd name="connsiteX121" fmla="*/ 629011 w 6616264"/>
              <a:gd name="connsiteY121" fmla="*/ 2794263 h 6858000"/>
              <a:gd name="connsiteX122" fmla="*/ 1201251 w 6616264"/>
              <a:gd name="connsiteY122" fmla="*/ 2715555 h 6858000"/>
              <a:gd name="connsiteX123" fmla="*/ 1367053 w 6616264"/>
              <a:gd name="connsiteY123" fmla="*/ 2881357 h 6858000"/>
              <a:gd name="connsiteX124" fmla="*/ 1201251 w 6616264"/>
              <a:gd name="connsiteY124" fmla="*/ 3047158 h 6858000"/>
              <a:gd name="connsiteX125" fmla="*/ 1035450 w 6616264"/>
              <a:gd name="connsiteY125" fmla="*/ 2881357 h 6858000"/>
              <a:gd name="connsiteX126" fmla="*/ 1201251 w 6616264"/>
              <a:gd name="connsiteY126" fmla="*/ 2715555 h 6858000"/>
              <a:gd name="connsiteX127" fmla="*/ 629011 w 6616264"/>
              <a:gd name="connsiteY127" fmla="*/ 2240732 h 6858000"/>
              <a:gd name="connsiteX128" fmla="*/ 696752 w 6616264"/>
              <a:gd name="connsiteY128" fmla="*/ 2308473 h 6858000"/>
              <a:gd name="connsiteX129" fmla="*/ 629011 w 6616264"/>
              <a:gd name="connsiteY129" fmla="*/ 2376214 h 6858000"/>
              <a:gd name="connsiteX130" fmla="*/ 561272 w 6616264"/>
              <a:gd name="connsiteY130" fmla="*/ 2308473 h 6858000"/>
              <a:gd name="connsiteX131" fmla="*/ 629011 w 6616264"/>
              <a:gd name="connsiteY131" fmla="*/ 2240732 h 6858000"/>
              <a:gd name="connsiteX132" fmla="*/ 1201250 w 6616264"/>
              <a:gd name="connsiteY132" fmla="*/ 2176227 h 6858000"/>
              <a:gd name="connsiteX133" fmla="*/ 1333504 w 6616264"/>
              <a:gd name="connsiteY133" fmla="*/ 2308479 h 6858000"/>
              <a:gd name="connsiteX134" fmla="*/ 1201250 w 6616264"/>
              <a:gd name="connsiteY134" fmla="*/ 2440726 h 6858000"/>
              <a:gd name="connsiteX135" fmla="*/ 1068997 w 6616264"/>
              <a:gd name="connsiteY135" fmla="*/ 2308479 h 6858000"/>
              <a:gd name="connsiteX136" fmla="*/ 1201250 w 6616264"/>
              <a:gd name="connsiteY136" fmla="*/ 2176227 h 6858000"/>
              <a:gd name="connsiteX137" fmla="*/ 1773490 w 6616264"/>
              <a:gd name="connsiteY137" fmla="*/ 2088481 h 6858000"/>
              <a:gd name="connsiteX138" fmla="*/ 1976166 w 6616264"/>
              <a:gd name="connsiteY138" fmla="*/ 2222935 h 6858000"/>
              <a:gd name="connsiteX139" fmla="*/ 1987399 w 6616264"/>
              <a:gd name="connsiteY139" fmla="*/ 2278426 h 6858000"/>
              <a:gd name="connsiteX140" fmla="*/ 1985740 w 6616264"/>
              <a:gd name="connsiteY140" fmla="*/ 2294890 h 6858000"/>
              <a:gd name="connsiteX141" fmla="*/ 1989817 w 6616264"/>
              <a:gd name="connsiteY141" fmla="*/ 2326586 h 6858000"/>
              <a:gd name="connsiteX142" fmla="*/ 1976166 w 6616264"/>
              <a:gd name="connsiteY142" fmla="*/ 2394018 h 6858000"/>
              <a:gd name="connsiteX143" fmla="*/ 1773490 w 6616264"/>
              <a:gd name="connsiteY143" fmla="*/ 2528464 h 6858000"/>
              <a:gd name="connsiteX144" fmla="*/ 1553498 w 6616264"/>
              <a:gd name="connsiteY144" fmla="*/ 2308473 h 6858000"/>
              <a:gd name="connsiteX145" fmla="*/ 1773490 w 6616264"/>
              <a:gd name="connsiteY145" fmla="*/ 2088481 h 6858000"/>
              <a:gd name="connsiteX146" fmla="*/ 629011 w 6616264"/>
              <a:gd name="connsiteY146" fmla="*/ 1688493 h 6858000"/>
              <a:gd name="connsiteX147" fmla="*/ 676752 w 6616264"/>
              <a:gd name="connsiteY147" fmla="*/ 1736234 h 6858000"/>
              <a:gd name="connsiteX148" fmla="*/ 629011 w 6616264"/>
              <a:gd name="connsiteY148" fmla="*/ 1783975 h 6858000"/>
              <a:gd name="connsiteX149" fmla="*/ 581271 w 6616264"/>
              <a:gd name="connsiteY149" fmla="*/ 1736234 h 6858000"/>
              <a:gd name="connsiteX150" fmla="*/ 629011 w 6616264"/>
              <a:gd name="connsiteY150" fmla="*/ 1688493 h 6858000"/>
              <a:gd name="connsiteX151" fmla="*/ 1201250 w 6616264"/>
              <a:gd name="connsiteY151" fmla="*/ 1639465 h 6858000"/>
              <a:gd name="connsiteX152" fmla="*/ 1298022 w 6616264"/>
              <a:gd name="connsiteY152" fmla="*/ 1736237 h 6858000"/>
              <a:gd name="connsiteX153" fmla="*/ 1201250 w 6616264"/>
              <a:gd name="connsiteY153" fmla="*/ 1833008 h 6858000"/>
              <a:gd name="connsiteX154" fmla="*/ 1104480 w 6616264"/>
              <a:gd name="connsiteY154" fmla="*/ 1736237 h 6858000"/>
              <a:gd name="connsiteX155" fmla="*/ 1201250 w 6616264"/>
              <a:gd name="connsiteY155" fmla="*/ 1639465 h 6858000"/>
              <a:gd name="connsiteX156" fmla="*/ 1741933 w 6616264"/>
              <a:gd name="connsiteY156" fmla="*/ 1572389 h 6858000"/>
              <a:gd name="connsiteX157" fmla="*/ 1937614 w 6616264"/>
              <a:gd name="connsiteY157" fmla="*/ 1704875 h 6858000"/>
              <a:gd name="connsiteX158" fmla="*/ 1805127 w 6616264"/>
              <a:gd name="connsiteY158" fmla="*/ 1900555 h 6858000"/>
              <a:gd name="connsiteX159" fmla="*/ 1609447 w 6616264"/>
              <a:gd name="connsiteY159" fmla="*/ 1768068 h 6858000"/>
              <a:gd name="connsiteX160" fmla="*/ 1741933 w 6616264"/>
              <a:gd name="connsiteY160" fmla="*/ 1572389 h 6858000"/>
              <a:gd name="connsiteX161" fmla="*/ 1189474 w 6616264"/>
              <a:gd name="connsiteY161" fmla="*/ 1102707 h 6858000"/>
              <a:gd name="connsiteX162" fmla="*/ 1262761 w 6616264"/>
              <a:gd name="connsiteY162" fmla="*/ 1152327 h 6858000"/>
              <a:gd name="connsiteX163" fmla="*/ 1213141 w 6616264"/>
              <a:gd name="connsiteY163" fmla="*/ 1225613 h 6858000"/>
              <a:gd name="connsiteX164" fmla="*/ 1139856 w 6616264"/>
              <a:gd name="connsiteY164" fmla="*/ 1175994 h 6858000"/>
              <a:gd name="connsiteX165" fmla="*/ 1189474 w 6616264"/>
              <a:gd name="connsiteY165" fmla="*/ 1102707 h 6858000"/>
              <a:gd name="connsiteX166" fmla="*/ 1773490 w 6616264"/>
              <a:gd name="connsiteY166" fmla="*/ 1043355 h 6858000"/>
              <a:gd name="connsiteX167" fmla="*/ 1894132 w 6616264"/>
              <a:gd name="connsiteY167" fmla="*/ 1163996 h 6858000"/>
              <a:gd name="connsiteX168" fmla="*/ 1773490 w 6616264"/>
              <a:gd name="connsiteY168" fmla="*/ 1284638 h 6858000"/>
              <a:gd name="connsiteX169" fmla="*/ 1652849 w 6616264"/>
              <a:gd name="connsiteY169" fmla="*/ 1163996 h 6858000"/>
              <a:gd name="connsiteX170" fmla="*/ 1773490 w 6616264"/>
              <a:gd name="connsiteY170" fmla="*/ 1043355 h 6858000"/>
              <a:gd name="connsiteX171" fmla="*/ 2346375 w 6616264"/>
              <a:gd name="connsiteY171" fmla="*/ 973034 h 6858000"/>
              <a:gd name="connsiteX172" fmla="*/ 2537335 w 6616264"/>
              <a:gd name="connsiteY172" fmla="*/ 1163996 h 6858000"/>
              <a:gd name="connsiteX173" fmla="*/ 2346375 w 6616264"/>
              <a:gd name="connsiteY173" fmla="*/ 1354957 h 6858000"/>
              <a:gd name="connsiteX174" fmla="*/ 2155413 w 6616264"/>
              <a:gd name="connsiteY174" fmla="*/ 1163996 h 6858000"/>
              <a:gd name="connsiteX175" fmla="*/ 2346375 w 6616264"/>
              <a:gd name="connsiteY175" fmla="*/ 973034 h 6858000"/>
              <a:gd name="connsiteX176" fmla="*/ 1201251 w 6616264"/>
              <a:gd name="connsiteY176" fmla="*/ 554986 h 6858000"/>
              <a:gd name="connsiteX177" fmla="*/ 1238024 w 6616264"/>
              <a:gd name="connsiteY177" fmla="*/ 591758 h 6858000"/>
              <a:gd name="connsiteX178" fmla="*/ 1201251 w 6616264"/>
              <a:gd name="connsiteY178" fmla="*/ 628531 h 6858000"/>
              <a:gd name="connsiteX179" fmla="*/ 1164478 w 6616264"/>
              <a:gd name="connsiteY179" fmla="*/ 591758 h 6858000"/>
              <a:gd name="connsiteX180" fmla="*/ 1201251 w 6616264"/>
              <a:gd name="connsiteY180" fmla="*/ 554986 h 6858000"/>
              <a:gd name="connsiteX181" fmla="*/ 1773490 w 6616264"/>
              <a:gd name="connsiteY181" fmla="*/ 516275 h 6858000"/>
              <a:gd name="connsiteX182" fmla="*/ 1848972 w 6616264"/>
              <a:gd name="connsiteY182" fmla="*/ 591757 h 6858000"/>
              <a:gd name="connsiteX183" fmla="*/ 1773490 w 6616264"/>
              <a:gd name="connsiteY183" fmla="*/ 667238 h 6858000"/>
              <a:gd name="connsiteX184" fmla="*/ 1698009 w 6616264"/>
              <a:gd name="connsiteY184" fmla="*/ 591757 h 6858000"/>
              <a:gd name="connsiteX185" fmla="*/ 1773490 w 6616264"/>
              <a:gd name="connsiteY185" fmla="*/ 516275 h 6858000"/>
              <a:gd name="connsiteX186" fmla="*/ 2346375 w 6616264"/>
              <a:gd name="connsiteY186" fmla="*/ 462084 h 6858000"/>
              <a:gd name="connsiteX187" fmla="*/ 2476048 w 6616264"/>
              <a:gd name="connsiteY187" fmla="*/ 591757 h 6858000"/>
              <a:gd name="connsiteX188" fmla="*/ 2346375 w 6616264"/>
              <a:gd name="connsiteY188" fmla="*/ 721429 h 6858000"/>
              <a:gd name="connsiteX189" fmla="*/ 2216701 w 6616264"/>
              <a:gd name="connsiteY189" fmla="*/ 591757 h 6858000"/>
              <a:gd name="connsiteX190" fmla="*/ 2346375 w 6616264"/>
              <a:gd name="connsiteY190" fmla="*/ 462084 h 6858000"/>
              <a:gd name="connsiteX191" fmla="*/ 2918614 w 6616264"/>
              <a:gd name="connsiteY191" fmla="*/ 395638 h 6858000"/>
              <a:gd name="connsiteX192" fmla="*/ 3114092 w 6616264"/>
              <a:gd name="connsiteY192" fmla="*/ 591115 h 6858000"/>
              <a:gd name="connsiteX193" fmla="*/ 2918614 w 6616264"/>
              <a:gd name="connsiteY193" fmla="*/ 786593 h 6858000"/>
              <a:gd name="connsiteX194" fmla="*/ 2723137 w 6616264"/>
              <a:gd name="connsiteY194" fmla="*/ 591115 h 6858000"/>
              <a:gd name="connsiteX195" fmla="*/ 2918614 w 6616264"/>
              <a:gd name="connsiteY195" fmla="*/ 395638 h 6858000"/>
              <a:gd name="connsiteX196" fmla="*/ 4310582 w 6616264"/>
              <a:gd name="connsiteY196" fmla="*/ 0 h 6858000"/>
              <a:gd name="connsiteX197" fmla="*/ 6616264 w 6616264"/>
              <a:gd name="connsiteY197" fmla="*/ 0 h 6858000"/>
              <a:gd name="connsiteX198" fmla="*/ 6616264 w 6616264"/>
              <a:gd name="connsiteY198" fmla="*/ 6845058 h 6858000"/>
              <a:gd name="connsiteX199" fmla="*/ 1487047 w 6616264"/>
              <a:gd name="connsiteY199" fmla="*/ 6845058 h 6858000"/>
              <a:gd name="connsiteX200" fmla="*/ 1727039 w 6616264"/>
              <a:gd name="connsiteY200" fmla="*/ 6632807 h 6858000"/>
              <a:gd name="connsiteX201" fmla="*/ 1965741 w 6616264"/>
              <a:gd name="connsiteY201" fmla="*/ 6834091 h 6858000"/>
              <a:gd name="connsiteX202" fmla="*/ 2090254 w 6616264"/>
              <a:gd name="connsiteY202" fmla="*/ 6611518 h 6858000"/>
              <a:gd name="connsiteX203" fmla="*/ 1960580 w 6616264"/>
              <a:gd name="connsiteY203" fmla="*/ 6459265 h 6858000"/>
              <a:gd name="connsiteX204" fmla="*/ 1727039 w 6616264"/>
              <a:gd name="connsiteY204" fmla="*/ 6583777 h 6858000"/>
              <a:gd name="connsiteX205" fmla="*/ 1445758 w 6616264"/>
              <a:gd name="connsiteY205" fmla="*/ 6302496 h 6858000"/>
              <a:gd name="connsiteX206" fmla="*/ 1658654 w 6616264"/>
              <a:gd name="connsiteY206" fmla="*/ 6029602 h 6858000"/>
              <a:gd name="connsiteX207" fmla="*/ 1419307 w 6616264"/>
              <a:gd name="connsiteY207" fmla="*/ 5729611 h 6858000"/>
              <a:gd name="connsiteX208" fmla="*/ 1598012 w 6616264"/>
              <a:gd name="connsiteY208" fmla="*/ 5450911 h 6858000"/>
              <a:gd name="connsiteX209" fmla="*/ 1420467 w 6616264"/>
              <a:gd name="connsiteY209" fmla="*/ 5251502 h 6858000"/>
              <a:gd name="connsiteX210" fmla="*/ 1412511 w 6616264"/>
              <a:gd name="connsiteY210" fmla="*/ 5198248 h 6858000"/>
              <a:gd name="connsiteX211" fmla="*/ 1418018 w 6616264"/>
              <a:gd name="connsiteY211" fmla="*/ 5170958 h 6858000"/>
              <a:gd name="connsiteX212" fmla="*/ 1410074 w 6616264"/>
              <a:gd name="connsiteY212" fmla="*/ 5131469 h 6858000"/>
              <a:gd name="connsiteX213" fmla="*/ 1419106 w 6616264"/>
              <a:gd name="connsiteY213" fmla="*/ 5067728 h 6858000"/>
              <a:gd name="connsiteX214" fmla="*/ 1580592 w 6616264"/>
              <a:gd name="connsiteY214" fmla="*/ 4872220 h 6858000"/>
              <a:gd name="connsiteX215" fmla="*/ 1417291 w 6616264"/>
              <a:gd name="connsiteY215" fmla="*/ 4675352 h 6858000"/>
              <a:gd name="connsiteX216" fmla="*/ 1411993 w 6616264"/>
              <a:gd name="connsiteY216" fmla="*/ 4638075 h 6858000"/>
              <a:gd name="connsiteX217" fmla="*/ 1419954 w 6616264"/>
              <a:gd name="connsiteY217" fmla="*/ 4598719 h 6858000"/>
              <a:gd name="connsiteX218" fmla="*/ 1409763 w 6616264"/>
              <a:gd name="connsiteY218" fmla="*/ 4548337 h 6858000"/>
              <a:gd name="connsiteX219" fmla="*/ 1417623 w 6616264"/>
              <a:gd name="connsiteY219" fmla="*/ 4493695 h 6858000"/>
              <a:gd name="connsiteX220" fmla="*/ 1584463 w 6616264"/>
              <a:gd name="connsiteY220" fmla="*/ 4295465 h 6858000"/>
              <a:gd name="connsiteX221" fmla="*/ 1410276 w 6616264"/>
              <a:gd name="connsiteY221" fmla="*/ 4012249 h 6858000"/>
              <a:gd name="connsiteX222" fmla="*/ 1619945 w 6616264"/>
              <a:gd name="connsiteY222" fmla="*/ 3714194 h 6858000"/>
              <a:gd name="connsiteX223" fmla="*/ 1432210 w 6616264"/>
              <a:gd name="connsiteY223" fmla="*/ 3440009 h 6858000"/>
              <a:gd name="connsiteX224" fmla="*/ 1727039 w 6616264"/>
              <a:gd name="connsiteY224" fmla="*/ 3145180 h 6858000"/>
              <a:gd name="connsiteX225" fmla="*/ 1959290 w 6616264"/>
              <a:gd name="connsiteY225" fmla="*/ 3259370 h 6858000"/>
              <a:gd name="connsiteX226" fmla="*/ 2066382 w 6616264"/>
              <a:gd name="connsiteY226" fmla="*/ 3133568 h 6858000"/>
              <a:gd name="connsiteX227" fmla="*/ 1963805 w 6616264"/>
              <a:gd name="connsiteY227" fmla="*/ 2980025 h 6858000"/>
              <a:gd name="connsiteX228" fmla="*/ 1726393 w 6616264"/>
              <a:gd name="connsiteY228" fmla="*/ 3129696 h 6858000"/>
              <a:gd name="connsiteX229" fmla="*/ 1463822 w 6616264"/>
              <a:gd name="connsiteY229" fmla="*/ 2867125 h 6858000"/>
              <a:gd name="connsiteX230" fmla="*/ 1726393 w 6616264"/>
              <a:gd name="connsiteY230" fmla="*/ 2604553 h 6858000"/>
              <a:gd name="connsiteX231" fmla="*/ 1963805 w 6616264"/>
              <a:gd name="connsiteY231" fmla="*/ 2754226 h 6858000"/>
              <a:gd name="connsiteX232" fmla="*/ 2128316 w 6616264"/>
              <a:gd name="connsiteY232" fmla="*/ 2557458 h 6858000"/>
              <a:gd name="connsiteX233" fmla="*/ 1995952 w 6616264"/>
              <a:gd name="connsiteY233" fmla="*/ 2374289 h 6858000"/>
              <a:gd name="connsiteX234" fmla="*/ 1989817 w 6616264"/>
              <a:gd name="connsiteY234" fmla="*/ 2326586 h 6858000"/>
              <a:gd name="connsiteX235" fmla="*/ 1993483 w 6616264"/>
              <a:gd name="connsiteY235" fmla="*/ 2308473 h 6858000"/>
              <a:gd name="connsiteX236" fmla="*/ 1987399 w 6616264"/>
              <a:gd name="connsiteY236" fmla="*/ 2278426 h 6858000"/>
              <a:gd name="connsiteX237" fmla="*/ 1992121 w 6616264"/>
              <a:gd name="connsiteY237" fmla="*/ 2231592 h 6858000"/>
              <a:gd name="connsiteX238" fmla="*/ 2299279 w 6616264"/>
              <a:gd name="connsiteY238" fmla="*/ 1981352 h 6858000"/>
              <a:gd name="connsiteX239" fmla="*/ 2538626 w 6616264"/>
              <a:gd name="connsiteY239" fmla="*/ 2092962 h 6858000"/>
              <a:gd name="connsiteX240" fmla="*/ 2647654 w 6616264"/>
              <a:gd name="connsiteY240" fmla="*/ 1976190 h 6858000"/>
              <a:gd name="connsiteX241" fmla="*/ 2542496 w 6616264"/>
              <a:gd name="connsiteY241" fmla="*/ 1803293 h 6858000"/>
              <a:gd name="connsiteX242" fmla="*/ 2298633 w 6616264"/>
              <a:gd name="connsiteY242" fmla="*/ 1979417 h 6858000"/>
              <a:gd name="connsiteX243" fmla="*/ 2041223 w 6616264"/>
              <a:gd name="connsiteY243" fmla="*/ 1722003 h 6858000"/>
              <a:gd name="connsiteX244" fmla="*/ 2298633 w 6616264"/>
              <a:gd name="connsiteY244" fmla="*/ 1464593 h 6858000"/>
              <a:gd name="connsiteX245" fmla="*/ 2542496 w 6616264"/>
              <a:gd name="connsiteY245" fmla="*/ 1640718 h 6858000"/>
              <a:gd name="connsiteX246" fmla="*/ 2760554 w 6616264"/>
              <a:gd name="connsiteY246" fmla="*/ 1402016 h 6858000"/>
              <a:gd name="connsiteX247" fmla="*/ 2595399 w 6616264"/>
              <a:gd name="connsiteY247" fmla="*/ 1149118 h 6858000"/>
              <a:gd name="connsiteX248" fmla="*/ 2871517 w 6616264"/>
              <a:gd name="connsiteY248" fmla="*/ 872997 h 6858000"/>
              <a:gd name="connsiteX249" fmla="*/ 3123122 w 6616264"/>
              <a:gd name="connsiteY249" fmla="*/ 1035574 h 6858000"/>
              <a:gd name="connsiteX250" fmla="*/ 3348276 w 6616264"/>
              <a:gd name="connsiteY250" fmla="*/ 822035 h 6858000"/>
              <a:gd name="connsiteX251" fmla="*/ 3179894 w 6616264"/>
              <a:gd name="connsiteY251" fmla="*/ 576235 h 6858000"/>
              <a:gd name="connsiteX252" fmla="*/ 3443756 w 6616264"/>
              <a:gd name="connsiteY252" fmla="*/ 312373 h 6858000"/>
              <a:gd name="connsiteX253" fmla="*/ 3699877 w 6616264"/>
              <a:gd name="connsiteY253" fmla="*/ 514303 h 6858000"/>
              <a:gd name="connsiteX254" fmla="*/ 4015996 w 6616264"/>
              <a:gd name="connsiteY254" fmla="*/ 254311 h 6858000"/>
              <a:gd name="connsiteX255" fmla="*/ 4275343 w 6616264"/>
              <a:gd name="connsiteY255" fmla="*/ 385274 h 6858000"/>
              <a:gd name="connsiteX256" fmla="*/ 4441788 w 6616264"/>
              <a:gd name="connsiteY256" fmla="*/ 240118 h 6858000"/>
              <a:gd name="connsiteX257" fmla="*/ 4310179 w 6616264"/>
              <a:gd name="connsiteY257" fmla="*/ 3997 h 6858000"/>
              <a:gd name="connsiteX258" fmla="*/ 3836709 w 6616264"/>
              <a:gd name="connsiteY258" fmla="*/ 0 h 6858000"/>
              <a:gd name="connsiteX259" fmla="*/ 4290765 w 6616264"/>
              <a:gd name="connsiteY259" fmla="*/ 0 h 6858000"/>
              <a:gd name="connsiteX260" fmla="*/ 4294697 w 6616264"/>
              <a:gd name="connsiteY260" fmla="*/ 19521 h 6858000"/>
              <a:gd name="connsiteX261" fmla="*/ 4063738 w 6616264"/>
              <a:gd name="connsiteY261" fmla="*/ 250481 h 6858000"/>
              <a:gd name="connsiteX262" fmla="*/ 3832777 w 6616264"/>
              <a:gd name="connsiteY262" fmla="*/ 19521 h 6858000"/>
              <a:gd name="connsiteX263" fmla="*/ 3315960 w 6616264"/>
              <a:gd name="connsiteY263" fmla="*/ 0 h 6858000"/>
              <a:gd name="connsiteX264" fmla="*/ 3665746 w 6616264"/>
              <a:gd name="connsiteY264" fmla="*/ 0 h 6858000"/>
              <a:gd name="connsiteX265" fmla="*/ 3669557 w 6616264"/>
              <a:gd name="connsiteY265" fmla="*/ 18877 h 6858000"/>
              <a:gd name="connsiteX266" fmla="*/ 3490853 w 6616264"/>
              <a:gd name="connsiteY266" fmla="*/ 197580 h 6858000"/>
              <a:gd name="connsiteX267" fmla="*/ 3312149 w 6616264"/>
              <a:gd name="connsiteY267" fmla="*/ 18877 h 6858000"/>
              <a:gd name="connsiteX268" fmla="*/ 2797406 w 6616264"/>
              <a:gd name="connsiteY268" fmla="*/ 0 h 6858000"/>
              <a:gd name="connsiteX269" fmla="*/ 3039822 w 6616264"/>
              <a:gd name="connsiteY269" fmla="*/ 0 h 6858000"/>
              <a:gd name="connsiteX270" fmla="*/ 3043771 w 6616264"/>
              <a:gd name="connsiteY270" fmla="*/ 19521 h 6858000"/>
              <a:gd name="connsiteX271" fmla="*/ 2918614 w 6616264"/>
              <a:gd name="connsiteY271" fmla="*/ 144678 h 6858000"/>
              <a:gd name="connsiteX272" fmla="*/ 2793456 w 6616264"/>
              <a:gd name="connsiteY272" fmla="*/ 19521 h 6858000"/>
              <a:gd name="connsiteX273" fmla="*/ 2274893 w 6616264"/>
              <a:gd name="connsiteY273" fmla="*/ 0 h 6858000"/>
              <a:gd name="connsiteX274" fmla="*/ 2417855 w 6616264"/>
              <a:gd name="connsiteY274" fmla="*/ 0 h 6858000"/>
              <a:gd name="connsiteX275" fmla="*/ 2421856 w 6616264"/>
              <a:gd name="connsiteY275" fmla="*/ 19518 h 6858000"/>
              <a:gd name="connsiteX276" fmla="*/ 2346375 w 6616264"/>
              <a:gd name="connsiteY276" fmla="*/ 94999 h 6858000"/>
              <a:gd name="connsiteX277" fmla="*/ 2270893 w 6616264"/>
              <a:gd name="connsiteY277" fmla="*/ 19518 h 6858000"/>
              <a:gd name="connsiteX278" fmla="*/ 1740884 w 6616264"/>
              <a:gd name="connsiteY278" fmla="*/ 0 h 6858000"/>
              <a:gd name="connsiteX279" fmla="*/ 1806098 w 6616264"/>
              <a:gd name="connsiteY279" fmla="*/ 0 h 6858000"/>
              <a:gd name="connsiteX280" fmla="*/ 1814136 w 6616264"/>
              <a:gd name="connsiteY280" fmla="*/ 19519 h 6858000"/>
              <a:gd name="connsiteX281" fmla="*/ 1773490 w 6616264"/>
              <a:gd name="connsiteY281" fmla="*/ 60163 h 6858000"/>
              <a:gd name="connsiteX282" fmla="*/ 1732847 w 6616264"/>
              <a:gd name="connsiteY282" fmla="*/ 19519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Lst>
            <a:rect l="l" t="t" r="r" b="b"/>
            <a:pathLst>
              <a:path w="6616264" h="6858000">
                <a:moveTo>
                  <a:pt x="56772" y="6855419"/>
                </a:moveTo>
                <a:cubicBezTo>
                  <a:pt x="61288" y="6855419"/>
                  <a:pt x="65160" y="6856710"/>
                  <a:pt x="69029" y="6858000"/>
                </a:cubicBezTo>
                <a:lnTo>
                  <a:pt x="44514" y="6858000"/>
                </a:lnTo>
                <a:cubicBezTo>
                  <a:pt x="47740" y="6856710"/>
                  <a:pt x="52255" y="6856064"/>
                  <a:pt x="56772" y="6855419"/>
                </a:cubicBezTo>
                <a:close/>
                <a:moveTo>
                  <a:pt x="629011" y="6807680"/>
                </a:moveTo>
                <a:cubicBezTo>
                  <a:pt x="662559" y="6807680"/>
                  <a:pt x="691590" y="6828969"/>
                  <a:pt x="703848" y="6858000"/>
                </a:cubicBezTo>
                <a:lnTo>
                  <a:pt x="554820" y="6858000"/>
                </a:lnTo>
                <a:cubicBezTo>
                  <a:pt x="566433" y="6828324"/>
                  <a:pt x="595464" y="6807680"/>
                  <a:pt x="629011" y="6807680"/>
                </a:cubicBezTo>
                <a:close/>
                <a:moveTo>
                  <a:pt x="1201250" y="6737359"/>
                </a:moveTo>
                <a:cubicBezTo>
                  <a:pt x="1274151" y="6737359"/>
                  <a:pt x="1335439" y="6789614"/>
                  <a:pt x="1348988" y="6858000"/>
                </a:cubicBezTo>
                <a:lnTo>
                  <a:pt x="1053513" y="6858000"/>
                </a:lnTo>
                <a:cubicBezTo>
                  <a:pt x="1067706" y="6788970"/>
                  <a:pt x="1128349" y="6737359"/>
                  <a:pt x="1201250" y="6737359"/>
                </a:cubicBezTo>
                <a:close/>
                <a:moveTo>
                  <a:pt x="56772" y="6273504"/>
                </a:moveTo>
                <a:cubicBezTo>
                  <a:pt x="79998" y="6273504"/>
                  <a:pt x="99350" y="6292214"/>
                  <a:pt x="99350" y="6316083"/>
                </a:cubicBezTo>
                <a:cubicBezTo>
                  <a:pt x="99350" y="6339308"/>
                  <a:pt x="80642" y="6358662"/>
                  <a:pt x="56772" y="6358662"/>
                </a:cubicBezTo>
                <a:cubicBezTo>
                  <a:pt x="33547" y="6358662"/>
                  <a:pt x="14192" y="6339954"/>
                  <a:pt x="14192" y="6316083"/>
                </a:cubicBezTo>
                <a:cubicBezTo>
                  <a:pt x="14192" y="6292859"/>
                  <a:pt x="32902" y="6273504"/>
                  <a:pt x="56772" y="6273504"/>
                </a:cubicBezTo>
                <a:close/>
                <a:moveTo>
                  <a:pt x="629011" y="6216086"/>
                </a:moveTo>
                <a:cubicBezTo>
                  <a:pt x="684494" y="6216086"/>
                  <a:pt x="729008" y="6260600"/>
                  <a:pt x="729008" y="6316082"/>
                </a:cubicBezTo>
                <a:cubicBezTo>
                  <a:pt x="729008" y="6371564"/>
                  <a:pt x="684494" y="6416080"/>
                  <a:pt x="629011" y="6416080"/>
                </a:cubicBezTo>
                <a:cubicBezTo>
                  <a:pt x="573530" y="6416080"/>
                  <a:pt x="529015" y="6371564"/>
                  <a:pt x="529015" y="6316082"/>
                </a:cubicBezTo>
                <a:cubicBezTo>
                  <a:pt x="529015" y="6260600"/>
                  <a:pt x="573530" y="6216086"/>
                  <a:pt x="629011" y="6216086"/>
                </a:cubicBezTo>
                <a:close/>
                <a:moveTo>
                  <a:pt x="1201251" y="6134799"/>
                </a:moveTo>
                <a:cubicBezTo>
                  <a:pt x="1301248" y="6134799"/>
                  <a:pt x="1382536" y="6216086"/>
                  <a:pt x="1382536" y="6316083"/>
                </a:cubicBezTo>
                <a:cubicBezTo>
                  <a:pt x="1382536" y="6416080"/>
                  <a:pt x="1301248" y="6497367"/>
                  <a:pt x="1201251" y="6497367"/>
                </a:cubicBezTo>
                <a:cubicBezTo>
                  <a:pt x="1101255" y="6497367"/>
                  <a:pt x="1019967" y="6416080"/>
                  <a:pt x="1019967" y="6316083"/>
                </a:cubicBezTo>
                <a:cubicBezTo>
                  <a:pt x="1019967" y="6216086"/>
                  <a:pt x="1101255" y="6134799"/>
                  <a:pt x="1201251" y="6134799"/>
                </a:cubicBezTo>
                <a:close/>
                <a:moveTo>
                  <a:pt x="56773" y="5692878"/>
                </a:moveTo>
                <a:cubicBezTo>
                  <a:pt x="84514" y="5692878"/>
                  <a:pt x="107093" y="5715457"/>
                  <a:pt x="107738" y="5743844"/>
                </a:cubicBezTo>
                <a:cubicBezTo>
                  <a:pt x="107738" y="5772231"/>
                  <a:pt x="85159" y="5794810"/>
                  <a:pt x="56773" y="5794810"/>
                </a:cubicBezTo>
                <a:cubicBezTo>
                  <a:pt x="28385" y="5794810"/>
                  <a:pt x="5806" y="5772231"/>
                  <a:pt x="5806" y="5743844"/>
                </a:cubicBezTo>
                <a:cubicBezTo>
                  <a:pt x="5806" y="5715457"/>
                  <a:pt x="28385" y="5692878"/>
                  <a:pt x="56773" y="5692878"/>
                </a:cubicBezTo>
                <a:close/>
                <a:moveTo>
                  <a:pt x="629011" y="5627718"/>
                </a:moveTo>
                <a:cubicBezTo>
                  <a:pt x="692881" y="5627718"/>
                  <a:pt x="744491" y="5679330"/>
                  <a:pt x="744491" y="5743198"/>
                </a:cubicBezTo>
                <a:cubicBezTo>
                  <a:pt x="744491" y="5807067"/>
                  <a:pt x="692881" y="5858678"/>
                  <a:pt x="629011" y="5858678"/>
                </a:cubicBezTo>
                <a:cubicBezTo>
                  <a:pt x="565143" y="5858678"/>
                  <a:pt x="513532" y="5807067"/>
                  <a:pt x="513532" y="5743198"/>
                </a:cubicBezTo>
                <a:cubicBezTo>
                  <a:pt x="513532" y="5679330"/>
                  <a:pt x="565143" y="5627718"/>
                  <a:pt x="629011" y="5627718"/>
                </a:cubicBezTo>
                <a:close/>
                <a:moveTo>
                  <a:pt x="1201250" y="5539979"/>
                </a:moveTo>
                <a:cubicBezTo>
                  <a:pt x="1313506" y="5539979"/>
                  <a:pt x="1404470" y="5630944"/>
                  <a:pt x="1404470" y="5743198"/>
                </a:cubicBezTo>
                <a:cubicBezTo>
                  <a:pt x="1404470" y="5855452"/>
                  <a:pt x="1313506" y="5946418"/>
                  <a:pt x="1201250" y="5946418"/>
                </a:cubicBezTo>
                <a:cubicBezTo>
                  <a:pt x="1088996" y="5946418"/>
                  <a:pt x="998031" y="5855452"/>
                  <a:pt x="998031" y="5743198"/>
                </a:cubicBezTo>
                <a:cubicBezTo>
                  <a:pt x="998031" y="5630944"/>
                  <a:pt x="1088996" y="5539979"/>
                  <a:pt x="1201250" y="5539979"/>
                </a:cubicBezTo>
                <a:close/>
                <a:moveTo>
                  <a:pt x="56772" y="5114187"/>
                </a:moveTo>
                <a:cubicBezTo>
                  <a:pt x="87739" y="5114187"/>
                  <a:pt x="113543" y="5139347"/>
                  <a:pt x="113543" y="5170959"/>
                </a:cubicBezTo>
                <a:cubicBezTo>
                  <a:pt x="113543" y="5201926"/>
                  <a:pt x="88383" y="5227731"/>
                  <a:pt x="56772" y="5227731"/>
                </a:cubicBezTo>
                <a:cubicBezTo>
                  <a:pt x="25805" y="5227731"/>
                  <a:pt x="0" y="5202571"/>
                  <a:pt x="0" y="5170959"/>
                </a:cubicBezTo>
                <a:cubicBezTo>
                  <a:pt x="0" y="5139992"/>
                  <a:pt x="25160" y="5114187"/>
                  <a:pt x="56772" y="5114187"/>
                </a:cubicBezTo>
                <a:close/>
                <a:moveTo>
                  <a:pt x="629011" y="5045802"/>
                </a:moveTo>
                <a:cubicBezTo>
                  <a:pt x="698041" y="5045802"/>
                  <a:pt x="754168" y="5101930"/>
                  <a:pt x="754168" y="5170959"/>
                </a:cubicBezTo>
                <a:cubicBezTo>
                  <a:pt x="754168" y="5239989"/>
                  <a:pt x="698041" y="5296116"/>
                  <a:pt x="629011" y="5296116"/>
                </a:cubicBezTo>
                <a:cubicBezTo>
                  <a:pt x="559981" y="5296116"/>
                  <a:pt x="503854" y="5239989"/>
                  <a:pt x="503854" y="5170959"/>
                </a:cubicBezTo>
                <a:cubicBezTo>
                  <a:pt x="503854" y="5101930"/>
                  <a:pt x="559981" y="5045802"/>
                  <a:pt x="629011" y="5045802"/>
                </a:cubicBezTo>
                <a:close/>
                <a:moveTo>
                  <a:pt x="1201250" y="4954191"/>
                </a:moveTo>
                <a:cubicBezTo>
                  <a:pt x="1291247" y="4954191"/>
                  <a:pt x="1368181" y="5008626"/>
                  <a:pt x="1401022" y="5086465"/>
                </a:cubicBezTo>
                <a:lnTo>
                  <a:pt x="1410074" y="5131469"/>
                </a:lnTo>
                <a:lnTo>
                  <a:pt x="1406404" y="5157373"/>
                </a:lnTo>
                <a:lnTo>
                  <a:pt x="1412511" y="5198248"/>
                </a:lnTo>
                <a:lnTo>
                  <a:pt x="1401022" y="5255179"/>
                </a:lnTo>
                <a:cubicBezTo>
                  <a:pt x="1368181" y="5332930"/>
                  <a:pt x="1291247" y="5387726"/>
                  <a:pt x="1201250" y="5387726"/>
                </a:cubicBezTo>
                <a:cubicBezTo>
                  <a:pt x="1081899" y="5387726"/>
                  <a:pt x="984484" y="5290954"/>
                  <a:pt x="984484" y="5170958"/>
                </a:cubicBezTo>
                <a:cubicBezTo>
                  <a:pt x="984484" y="5051607"/>
                  <a:pt x="1081254" y="4954191"/>
                  <a:pt x="1201250" y="4954191"/>
                </a:cubicBezTo>
                <a:close/>
                <a:moveTo>
                  <a:pt x="56772" y="4541947"/>
                </a:moveTo>
                <a:cubicBezTo>
                  <a:pt x="87739" y="4541947"/>
                  <a:pt x="113543" y="4567107"/>
                  <a:pt x="113543" y="4598719"/>
                </a:cubicBezTo>
                <a:cubicBezTo>
                  <a:pt x="113543" y="4629686"/>
                  <a:pt x="88383" y="4655491"/>
                  <a:pt x="56772" y="4655491"/>
                </a:cubicBezTo>
                <a:cubicBezTo>
                  <a:pt x="25805" y="4655491"/>
                  <a:pt x="0" y="4630331"/>
                  <a:pt x="0" y="4598719"/>
                </a:cubicBezTo>
                <a:cubicBezTo>
                  <a:pt x="0" y="4567752"/>
                  <a:pt x="25160" y="4541947"/>
                  <a:pt x="56772" y="4541947"/>
                </a:cubicBezTo>
                <a:close/>
                <a:moveTo>
                  <a:pt x="629011" y="4471627"/>
                </a:moveTo>
                <a:cubicBezTo>
                  <a:pt x="698687" y="4471627"/>
                  <a:pt x="755461" y="4528399"/>
                  <a:pt x="756105" y="4598719"/>
                </a:cubicBezTo>
                <a:cubicBezTo>
                  <a:pt x="756105" y="4669041"/>
                  <a:pt x="699333" y="4725813"/>
                  <a:pt x="629011" y="4725813"/>
                </a:cubicBezTo>
                <a:cubicBezTo>
                  <a:pt x="558691" y="4725813"/>
                  <a:pt x="501919" y="4669041"/>
                  <a:pt x="501919" y="4598719"/>
                </a:cubicBezTo>
                <a:cubicBezTo>
                  <a:pt x="501919" y="4528399"/>
                  <a:pt x="558691" y="4471627"/>
                  <a:pt x="629011" y="4471627"/>
                </a:cubicBezTo>
                <a:close/>
                <a:moveTo>
                  <a:pt x="1201250" y="4380017"/>
                </a:moveTo>
                <a:cubicBezTo>
                  <a:pt x="1291731" y="4380017"/>
                  <a:pt x="1369511" y="4435177"/>
                  <a:pt x="1402746" y="4513652"/>
                </a:cubicBezTo>
                <a:lnTo>
                  <a:pt x="1409763" y="4548337"/>
                </a:lnTo>
                <a:lnTo>
                  <a:pt x="1404469" y="4585133"/>
                </a:lnTo>
                <a:lnTo>
                  <a:pt x="1411993" y="4638075"/>
                </a:lnTo>
                <a:lnTo>
                  <a:pt x="1402746" y="4683788"/>
                </a:lnTo>
                <a:cubicBezTo>
                  <a:pt x="1369511" y="4762263"/>
                  <a:pt x="1291731" y="4817423"/>
                  <a:pt x="1201250" y="4817423"/>
                </a:cubicBezTo>
                <a:cubicBezTo>
                  <a:pt x="1080609" y="4817423"/>
                  <a:pt x="982548" y="4719361"/>
                  <a:pt x="982548" y="4598719"/>
                </a:cubicBezTo>
                <a:cubicBezTo>
                  <a:pt x="982548" y="4478078"/>
                  <a:pt x="1080609" y="4380017"/>
                  <a:pt x="1201250" y="4380017"/>
                </a:cubicBezTo>
                <a:close/>
                <a:moveTo>
                  <a:pt x="56772" y="3971644"/>
                </a:moveTo>
                <a:cubicBezTo>
                  <a:pt x="87093" y="3971644"/>
                  <a:pt x="111609" y="3996159"/>
                  <a:pt x="111609" y="4026481"/>
                </a:cubicBezTo>
                <a:cubicBezTo>
                  <a:pt x="111609" y="4056802"/>
                  <a:pt x="87093" y="4081318"/>
                  <a:pt x="56772" y="4081318"/>
                </a:cubicBezTo>
                <a:cubicBezTo>
                  <a:pt x="26450" y="4081318"/>
                  <a:pt x="1935" y="4056802"/>
                  <a:pt x="1935" y="4026481"/>
                </a:cubicBezTo>
                <a:cubicBezTo>
                  <a:pt x="1935" y="3996159"/>
                  <a:pt x="26450" y="3971644"/>
                  <a:pt x="56772" y="3971644"/>
                </a:cubicBezTo>
                <a:close/>
                <a:moveTo>
                  <a:pt x="629011" y="3905839"/>
                </a:moveTo>
                <a:cubicBezTo>
                  <a:pt x="695461" y="3905839"/>
                  <a:pt x="749008" y="3959385"/>
                  <a:pt x="749008" y="4025835"/>
                </a:cubicBezTo>
                <a:cubicBezTo>
                  <a:pt x="749008" y="4092285"/>
                  <a:pt x="695461" y="4145832"/>
                  <a:pt x="629011" y="4145832"/>
                </a:cubicBezTo>
                <a:cubicBezTo>
                  <a:pt x="562561" y="4145832"/>
                  <a:pt x="509015" y="4092285"/>
                  <a:pt x="509015" y="4025835"/>
                </a:cubicBezTo>
                <a:cubicBezTo>
                  <a:pt x="509015" y="3959385"/>
                  <a:pt x="562561" y="3905839"/>
                  <a:pt x="629011" y="3905839"/>
                </a:cubicBezTo>
                <a:close/>
                <a:moveTo>
                  <a:pt x="1203892" y="3814492"/>
                </a:moveTo>
                <a:cubicBezTo>
                  <a:pt x="1302314" y="3815634"/>
                  <a:pt x="1389676" y="3885700"/>
                  <a:pt x="1409012" y="3986118"/>
                </a:cubicBezTo>
                <a:cubicBezTo>
                  <a:pt x="1431111" y="4100879"/>
                  <a:pt x="1355993" y="4211830"/>
                  <a:pt x="1241229" y="4233929"/>
                </a:cubicBezTo>
                <a:cubicBezTo>
                  <a:pt x="1126467" y="4256029"/>
                  <a:pt x="1015518" y="4180910"/>
                  <a:pt x="993420" y="4066147"/>
                </a:cubicBezTo>
                <a:cubicBezTo>
                  <a:pt x="971319" y="3951383"/>
                  <a:pt x="1046437" y="3840434"/>
                  <a:pt x="1161200" y="3818335"/>
                </a:cubicBezTo>
                <a:cubicBezTo>
                  <a:pt x="1175546" y="3815573"/>
                  <a:pt x="1189832" y="3814329"/>
                  <a:pt x="1203892" y="3814492"/>
                </a:cubicBezTo>
                <a:close/>
                <a:moveTo>
                  <a:pt x="56773" y="3404566"/>
                </a:moveTo>
                <a:cubicBezTo>
                  <a:pt x="83868" y="3404566"/>
                  <a:pt x="105802" y="3426501"/>
                  <a:pt x="105802" y="3453597"/>
                </a:cubicBezTo>
                <a:cubicBezTo>
                  <a:pt x="105802" y="3480692"/>
                  <a:pt x="83868" y="3502626"/>
                  <a:pt x="56773" y="3502626"/>
                </a:cubicBezTo>
                <a:cubicBezTo>
                  <a:pt x="29677" y="3502626"/>
                  <a:pt x="7742" y="3480692"/>
                  <a:pt x="7742" y="3453597"/>
                </a:cubicBezTo>
                <a:cubicBezTo>
                  <a:pt x="7742" y="3426501"/>
                  <a:pt x="29677" y="3404566"/>
                  <a:pt x="56773" y="3404566"/>
                </a:cubicBezTo>
                <a:close/>
                <a:moveTo>
                  <a:pt x="629011" y="3346503"/>
                </a:moveTo>
                <a:cubicBezTo>
                  <a:pt x="688364" y="3346503"/>
                  <a:pt x="736105" y="3394244"/>
                  <a:pt x="736105" y="3453597"/>
                </a:cubicBezTo>
                <a:cubicBezTo>
                  <a:pt x="736105" y="3512950"/>
                  <a:pt x="688364" y="3560690"/>
                  <a:pt x="629011" y="3560690"/>
                </a:cubicBezTo>
                <a:cubicBezTo>
                  <a:pt x="569658" y="3560690"/>
                  <a:pt x="521918" y="3512950"/>
                  <a:pt x="521918" y="3453597"/>
                </a:cubicBezTo>
                <a:cubicBezTo>
                  <a:pt x="521918" y="3394244"/>
                  <a:pt x="569658" y="3346503"/>
                  <a:pt x="629011" y="3346503"/>
                </a:cubicBezTo>
                <a:close/>
                <a:moveTo>
                  <a:pt x="1202686" y="3262069"/>
                </a:moveTo>
                <a:cubicBezTo>
                  <a:pt x="1277355" y="3262625"/>
                  <a:pt x="1347997" y="3307072"/>
                  <a:pt x="1378371" y="3380399"/>
                </a:cubicBezTo>
                <a:cubicBezTo>
                  <a:pt x="1418869" y="3478167"/>
                  <a:pt x="1372441" y="3590254"/>
                  <a:pt x="1274673" y="3630752"/>
                </a:cubicBezTo>
                <a:cubicBezTo>
                  <a:pt x="1176904" y="3671250"/>
                  <a:pt x="1064816" y="3624823"/>
                  <a:pt x="1024320" y="3527054"/>
                </a:cubicBezTo>
                <a:cubicBezTo>
                  <a:pt x="983821" y="3429286"/>
                  <a:pt x="1030249" y="3317198"/>
                  <a:pt x="1128017" y="3276701"/>
                </a:cubicBezTo>
                <a:cubicBezTo>
                  <a:pt x="1152459" y="3266577"/>
                  <a:pt x="1177796" y="3261885"/>
                  <a:pt x="1202686" y="3262069"/>
                </a:cubicBezTo>
                <a:close/>
                <a:moveTo>
                  <a:pt x="56772" y="2842649"/>
                </a:moveTo>
                <a:cubicBezTo>
                  <a:pt x="78062" y="2842649"/>
                  <a:pt x="95481" y="2860068"/>
                  <a:pt x="95481" y="2881357"/>
                </a:cubicBezTo>
                <a:cubicBezTo>
                  <a:pt x="95481" y="2902647"/>
                  <a:pt x="78062" y="2920066"/>
                  <a:pt x="56772" y="2920066"/>
                </a:cubicBezTo>
                <a:cubicBezTo>
                  <a:pt x="34837" y="2920066"/>
                  <a:pt x="18064" y="2902647"/>
                  <a:pt x="18064" y="2881357"/>
                </a:cubicBezTo>
                <a:cubicBezTo>
                  <a:pt x="18064" y="2860068"/>
                  <a:pt x="35482" y="2842649"/>
                  <a:pt x="56772" y="2842649"/>
                </a:cubicBezTo>
                <a:close/>
                <a:moveTo>
                  <a:pt x="629011" y="2794263"/>
                </a:moveTo>
                <a:cubicBezTo>
                  <a:pt x="676752" y="2794263"/>
                  <a:pt x="716105" y="2832971"/>
                  <a:pt x="716105" y="2881357"/>
                </a:cubicBezTo>
                <a:cubicBezTo>
                  <a:pt x="716105" y="2929097"/>
                  <a:pt x="677397" y="2968450"/>
                  <a:pt x="629011" y="2968450"/>
                </a:cubicBezTo>
                <a:cubicBezTo>
                  <a:pt x="580626" y="2968450"/>
                  <a:pt x="541273" y="2929743"/>
                  <a:pt x="541918" y="2881357"/>
                </a:cubicBezTo>
                <a:cubicBezTo>
                  <a:pt x="541918" y="2833616"/>
                  <a:pt x="580626" y="2794263"/>
                  <a:pt x="629011" y="2794263"/>
                </a:cubicBezTo>
                <a:close/>
                <a:moveTo>
                  <a:pt x="1201251" y="2715555"/>
                </a:moveTo>
                <a:cubicBezTo>
                  <a:pt x="1292862" y="2715555"/>
                  <a:pt x="1367053" y="2789747"/>
                  <a:pt x="1367053" y="2881357"/>
                </a:cubicBezTo>
                <a:cubicBezTo>
                  <a:pt x="1367053" y="2972967"/>
                  <a:pt x="1292862" y="3047158"/>
                  <a:pt x="1201251" y="3047158"/>
                </a:cubicBezTo>
                <a:cubicBezTo>
                  <a:pt x="1109641" y="3047158"/>
                  <a:pt x="1035450" y="2972967"/>
                  <a:pt x="1035450" y="2881357"/>
                </a:cubicBezTo>
                <a:cubicBezTo>
                  <a:pt x="1035450" y="2789747"/>
                  <a:pt x="1109641" y="2715555"/>
                  <a:pt x="1201251" y="2715555"/>
                </a:cubicBezTo>
                <a:close/>
                <a:moveTo>
                  <a:pt x="629011" y="2240732"/>
                </a:moveTo>
                <a:cubicBezTo>
                  <a:pt x="666430" y="2240732"/>
                  <a:pt x="696752" y="2271055"/>
                  <a:pt x="696752" y="2308473"/>
                </a:cubicBezTo>
                <a:cubicBezTo>
                  <a:pt x="696752" y="2345890"/>
                  <a:pt x="666430" y="2376214"/>
                  <a:pt x="629011" y="2376214"/>
                </a:cubicBezTo>
                <a:cubicBezTo>
                  <a:pt x="591594" y="2376214"/>
                  <a:pt x="561272" y="2345890"/>
                  <a:pt x="561272" y="2308473"/>
                </a:cubicBezTo>
                <a:cubicBezTo>
                  <a:pt x="561272" y="2271055"/>
                  <a:pt x="591594" y="2240732"/>
                  <a:pt x="629011" y="2240732"/>
                </a:cubicBezTo>
                <a:close/>
                <a:moveTo>
                  <a:pt x="1201250" y="2176227"/>
                </a:moveTo>
                <a:cubicBezTo>
                  <a:pt x="1274151" y="2176227"/>
                  <a:pt x="1333504" y="2235576"/>
                  <a:pt x="1333504" y="2308479"/>
                </a:cubicBezTo>
                <a:cubicBezTo>
                  <a:pt x="1333504" y="2381376"/>
                  <a:pt x="1274151" y="2440726"/>
                  <a:pt x="1201250" y="2440726"/>
                </a:cubicBezTo>
                <a:cubicBezTo>
                  <a:pt x="1128349" y="2440726"/>
                  <a:pt x="1068997" y="2382022"/>
                  <a:pt x="1068997" y="2308479"/>
                </a:cubicBezTo>
                <a:cubicBezTo>
                  <a:pt x="1068997" y="2235576"/>
                  <a:pt x="1128349" y="2176227"/>
                  <a:pt x="1201250" y="2176227"/>
                </a:cubicBezTo>
                <a:close/>
                <a:moveTo>
                  <a:pt x="1773490" y="2088481"/>
                </a:moveTo>
                <a:cubicBezTo>
                  <a:pt x="1864456" y="2088481"/>
                  <a:pt x="1942719" y="2144006"/>
                  <a:pt x="1976166" y="2222935"/>
                </a:cubicBezTo>
                <a:lnTo>
                  <a:pt x="1987399" y="2278426"/>
                </a:lnTo>
                <a:lnTo>
                  <a:pt x="1985740" y="2294890"/>
                </a:lnTo>
                <a:lnTo>
                  <a:pt x="1989817" y="2326586"/>
                </a:lnTo>
                <a:lnTo>
                  <a:pt x="1976166" y="2394018"/>
                </a:lnTo>
                <a:cubicBezTo>
                  <a:pt x="1942719" y="2472945"/>
                  <a:pt x="1864456" y="2528464"/>
                  <a:pt x="1773490" y="2528464"/>
                </a:cubicBezTo>
                <a:cubicBezTo>
                  <a:pt x="1652204" y="2528464"/>
                  <a:pt x="1553498" y="2430406"/>
                  <a:pt x="1553498" y="2308473"/>
                </a:cubicBezTo>
                <a:cubicBezTo>
                  <a:pt x="1553498" y="2187186"/>
                  <a:pt x="1652204" y="2088481"/>
                  <a:pt x="1773490" y="2088481"/>
                </a:cubicBezTo>
                <a:close/>
                <a:moveTo>
                  <a:pt x="629011" y="1688493"/>
                </a:moveTo>
                <a:cubicBezTo>
                  <a:pt x="655462" y="1688493"/>
                  <a:pt x="676752" y="1709783"/>
                  <a:pt x="676752" y="1736234"/>
                </a:cubicBezTo>
                <a:cubicBezTo>
                  <a:pt x="676752" y="1762684"/>
                  <a:pt x="655462" y="1783975"/>
                  <a:pt x="629011" y="1783975"/>
                </a:cubicBezTo>
                <a:cubicBezTo>
                  <a:pt x="602561" y="1783975"/>
                  <a:pt x="581271" y="1762684"/>
                  <a:pt x="581271" y="1736234"/>
                </a:cubicBezTo>
                <a:cubicBezTo>
                  <a:pt x="581271" y="1709783"/>
                  <a:pt x="602561" y="1688493"/>
                  <a:pt x="629011" y="1688493"/>
                </a:cubicBezTo>
                <a:close/>
                <a:moveTo>
                  <a:pt x="1201250" y="1639465"/>
                </a:moveTo>
                <a:cubicBezTo>
                  <a:pt x="1254798" y="1639465"/>
                  <a:pt x="1298022" y="1682692"/>
                  <a:pt x="1298022" y="1736237"/>
                </a:cubicBezTo>
                <a:cubicBezTo>
                  <a:pt x="1298022" y="1789784"/>
                  <a:pt x="1254798" y="1833008"/>
                  <a:pt x="1201250" y="1833008"/>
                </a:cubicBezTo>
                <a:cubicBezTo>
                  <a:pt x="1147704" y="1833008"/>
                  <a:pt x="1104480" y="1789784"/>
                  <a:pt x="1104480" y="1736237"/>
                </a:cubicBezTo>
                <a:cubicBezTo>
                  <a:pt x="1104480" y="1682692"/>
                  <a:pt x="1147704" y="1639465"/>
                  <a:pt x="1201250" y="1639465"/>
                </a:cubicBezTo>
                <a:close/>
                <a:moveTo>
                  <a:pt x="1741933" y="1572389"/>
                </a:moveTo>
                <a:cubicBezTo>
                  <a:pt x="1832555" y="1554938"/>
                  <a:pt x="1920163" y="1614255"/>
                  <a:pt x="1937614" y="1704875"/>
                </a:cubicBezTo>
                <a:cubicBezTo>
                  <a:pt x="1955064" y="1795496"/>
                  <a:pt x="1895749" y="1883105"/>
                  <a:pt x="1805127" y="1900555"/>
                </a:cubicBezTo>
                <a:cubicBezTo>
                  <a:pt x="1714507" y="1918005"/>
                  <a:pt x="1626897" y="1858692"/>
                  <a:pt x="1609447" y="1768068"/>
                </a:cubicBezTo>
                <a:cubicBezTo>
                  <a:pt x="1591996" y="1677449"/>
                  <a:pt x="1651313" y="1589840"/>
                  <a:pt x="1741933" y="1572389"/>
                </a:cubicBezTo>
                <a:close/>
                <a:moveTo>
                  <a:pt x="1189474" y="1102707"/>
                </a:moveTo>
                <a:cubicBezTo>
                  <a:pt x="1223414" y="1096172"/>
                  <a:pt x="1256226" y="1118389"/>
                  <a:pt x="1262761" y="1152327"/>
                </a:cubicBezTo>
                <a:cubicBezTo>
                  <a:pt x="1269297" y="1186266"/>
                  <a:pt x="1247081" y="1219079"/>
                  <a:pt x="1213141" y="1225613"/>
                </a:cubicBezTo>
                <a:cubicBezTo>
                  <a:pt x="1179203" y="1232150"/>
                  <a:pt x="1146392" y="1209934"/>
                  <a:pt x="1139856" y="1175994"/>
                </a:cubicBezTo>
                <a:cubicBezTo>
                  <a:pt x="1133320" y="1142055"/>
                  <a:pt x="1155536" y="1109244"/>
                  <a:pt x="1189474" y="1102707"/>
                </a:cubicBezTo>
                <a:close/>
                <a:moveTo>
                  <a:pt x="1773490" y="1043355"/>
                </a:moveTo>
                <a:cubicBezTo>
                  <a:pt x="1839939" y="1043355"/>
                  <a:pt x="1894132" y="1097545"/>
                  <a:pt x="1894132" y="1163996"/>
                </a:cubicBezTo>
                <a:cubicBezTo>
                  <a:pt x="1894132" y="1230445"/>
                  <a:pt x="1839939" y="1284638"/>
                  <a:pt x="1773490" y="1284638"/>
                </a:cubicBezTo>
                <a:cubicBezTo>
                  <a:pt x="1707040" y="1284638"/>
                  <a:pt x="1652849" y="1230445"/>
                  <a:pt x="1652849" y="1163996"/>
                </a:cubicBezTo>
                <a:cubicBezTo>
                  <a:pt x="1652849" y="1097545"/>
                  <a:pt x="1707040" y="1043355"/>
                  <a:pt x="1773490" y="1043355"/>
                </a:cubicBezTo>
                <a:close/>
                <a:moveTo>
                  <a:pt x="2346375" y="973034"/>
                </a:moveTo>
                <a:cubicBezTo>
                  <a:pt x="2451840" y="973034"/>
                  <a:pt x="2537335" y="1058530"/>
                  <a:pt x="2537335" y="1163996"/>
                </a:cubicBezTo>
                <a:cubicBezTo>
                  <a:pt x="2537335" y="1269461"/>
                  <a:pt x="2451840" y="1354957"/>
                  <a:pt x="2346375" y="1354957"/>
                </a:cubicBezTo>
                <a:cubicBezTo>
                  <a:pt x="2240910" y="1354957"/>
                  <a:pt x="2155413" y="1269461"/>
                  <a:pt x="2155413" y="1163996"/>
                </a:cubicBezTo>
                <a:cubicBezTo>
                  <a:pt x="2155413" y="1058530"/>
                  <a:pt x="2240910" y="973034"/>
                  <a:pt x="2346375" y="973034"/>
                </a:cubicBezTo>
                <a:close/>
                <a:moveTo>
                  <a:pt x="1201251" y="554986"/>
                </a:moveTo>
                <a:cubicBezTo>
                  <a:pt x="1221250" y="554986"/>
                  <a:pt x="1238024" y="571759"/>
                  <a:pt x="1238024" y="591758"/>
                </a:cubicBezTo>
                <a:cubicBezTo>
                  <a:pt x="1238024" y="611758"/>
                  <a:pt x="1221250" y="628531"/>
                  <a:pt x="1201251" y="628531"/>
                </a:cubicBezTo>
                <a:cubicBezTo>
                  <a:pt x="1181252" y="628531"/>
                  <a:pt x="1164478" y="611758"/>
                  <a:pt x="1164478" y="591758"/>
                </a:cubicBezTo>
                <a:cubicBezTo>
                  <a:pt x="1164478" y="571759"/>
                  <a:pt x="1181252" y="554986"/>
                  <a:pt x="1201251" y="554986"/>
                </a:cubicBezTo>
                <a:close/>
                <a:moveTo>
                  <a:pt x="1773490" y="516275"/>
                </a:moveTo>
                <a:cubicBezTo>
                  <a:pt x="1815424" y="516275"/>
                  <a:pt x="1848972" y="549823"/>
                  <a:pt x="1848972" y="591757"/>
                </a:cubicBezTo>
                <a:cubicBezTo>
                  <a:pt x="1848972" y="633690"/>
                  <a:pt x="1815424" y="667238"/>
                  <a:pt x="1773490" y="667238"/>
                </a:cubicBezTo>
                <a:cubicBezTo>
                  <a:pt x="1732201" y="667238"/>
                  <a:pt x="1698009" y="633047"/>
                  <a:pt x="1698009" y="591757"/>
                </a:cubicBezTo>
                <a:cubicBezTo>
                  <a:pt x="1698009" y="549823"/>
                  <a:pt x="1731556" y="516275"/>
                  <a:pt x="1773490" y="516275"/>
                </a:cubicBezTo>
                <a:close/>
                <a:moveTo>
                  <a:pt x="2346375" y="462084"/>
                </a:moveTo>
                <a:cubicBezTo>
                  <a:pt x="2417986" y="462084"/>
                  <a:pt x="2476048" y="520146"/>
                  <a:pt x="2476048" y="591757"/>
                </a:cubicBezTo>
                <a:cubicBezTo>
                  <a:pt x="2476048" y="663367"/>
                  <a:pt x="2417986" y="721429"/>
                  <a:pt x="2346375" y="721429"/>
                </a:cubicBezTo>
                <a:cubicBezTo>
                  <a:pt x="2274764" y="721429"/>
                  <a:pt x="2216057" y="663367"/>
                  <a:pt x="2216701" y="591757"/>
                </a:cubicBezTo>
                <a:cubicBezTo>
                  <a:pt x="2216701" y="520146"/>
                  <a:pt x="2274764" y="462084"/>
                  <a:pt x="2346375" y="462084"/>
                </a:cubicBezTo>
                <a:close/>
                <a:moveTo>
                  <a:pt x="2918614" y="395638"/>
                </a:moveTo>
                <a:cubicBezTo>
                  <a:pt x="3026353" y="395638"/>
                  <a:pt x="3114092" y="483377"/>
                  <a:pt x="3114092" y="591115"/>
                </a:cubicBezTo>
                <a:cubicBezTo>
                  <a:pt x="3114092" y="698853"/>
                  <a:pt x="3026353" y="786593"/>
                  <a:pt x="2918614" y="786593"/>
                </a:cubicBezTo>
                <a:cubicBezTo>
                  <a:pt x="2810875" y="786593"/>
                  <a:pt x="2723137" y="699498"/>
                  <a:pt x="2723137" y="591115"/>
                </a:cubicBezTo>
                <a:cubicBezTo>
                  <a:pt x="2723137" y="483377"/>
                  <a:pt x="2810875" y="395638"/>
                  <a:pt x="2918614" y="395638"/>
                </a:cubicBezTo>
                <a:close/>
                <a:moveTo>
                  <a:pt x="4310582" y="0"/>
                </a:moveTo>
                <a:lnTo>
                  <a:pt x="6616264" y="0"/>
                </a:lnTo>
                <a:lnTo>
                  <a:pt x="6616264" y="6845058"/>
                </a:lnTo>
                <a:lnTo>
                  <a:pt x="1487047" y="6845058"/>
                </a:lnTo>
                <a:cubicBezTo>
                  <a:pt x="1501885" y="6725707"/>
                  <a:pt x="1603173" y="6632807"/>
                  <a:pt x="1727039" y="6632807"/>
                </a:cubicBezTo>
                <a:cubicBezTo>
                  <a:pt x="1847035" y="6632807"/>
                  <a:pt x="1946387" y="6719901"/>
                  <a:pt x="1965741" y="6834091"/>
                </a:cubicBezTo>
                <a:cubicBezTo>
                  <a:pt x="1976709" y="6743772"/>
                  <a:pt x="2023158" y="6665064"/>
                  <a:pt x="2090254" y="6611518"/>
                </a:cubicBezTo>
                <a:cubicBezTo>
                  <a:pt x="2034126" y="6573454"/>
                  <a:pt x="1988966" y="6521199"/>
                  <a:pt x="1960580" y="6459265"/>
                </a:cubicBezTo>
                <a:cubicBezTo>
                  <a:pt x="1910259" y="6534101"/>
                  <a:pt x="1824455" y="6583777"/>
                  <a:pt x="1727039" y="6583777"/>
                </a:cubicBezTo>
                <a:cubicBezTo>
                  <a:pt x="1571560" y="6583777"/>
                  <a:pt x="1445758" y="6457975"/>
                  <a:pt x="1445758" y="6302496"/>
                </a:cubicBezTo>
                <a:cubicBezTo>
                  <a:pt x="1445758" y="6170243"/>
                  <a:pt x="1536078" y="6059923"/>
                  <a:pt x="1658654" y="6029602"/>
                </a:cubicBezTo>
                <a:cubicBezTo>
                  <a:pt x="1521884" y="5997990"/>
                  <a:pt x="1419307" y="5876059"/>
                  <a:pt x="1419307" y="5729611"/>
                </a:cubicBezTo>
                <a:cubicBezTo>
                  <a:pt x="1419307" y="5606390"/>
                  <a:pt x="1492853" y="5499942"/>
                  <a:pt x="1598012" y="5450911"/>
                </a:cubicBezTo>
                <a:cubicBezTo>
                  <a:pt x="1513337" y="5413654"/>
                  <a:pt x="1447894" y="5340834"/>
                  <a:pt x="1420467" y="5251502"/>
                </a:cubicBezTo>
                <a:lnTo>
                  <a:pt x="1412511" y="5198248"/>
                </a:lnTo>
                <a:lnTo>
                  <a:pt x="1418018" y="5170958"/>
                </a:lnTo>
                <a:lnTo>
                  <a:pt x="1410074" y="5131469"/>
                </a:lnTo>
                <a:lnTo>
                  <a:pt x="1419106" y="5067728"/>
                </a:lnTo>
                <a:cubicBezTo>
                  <a:pt x="1443902" y="4982419"/>
                  <a:pt x="1503175" y="4911897"/>
                  <a:pt x="1580592" y="4872220"/>
                </a:cubicBezTo>
                <a:cubicBezTo>
                  <a:pt x="1502208" y="4832545"/>
                  <a:pt x="1442330" y="4761297"/>
                  <a:pt x="1417291" y="4675352"/>
                </a:cubicBezTo>
                <a:lnTo>
                  <a:pt x="1411993" y="4638075"/>
                </a:lnTo>
                <a:lnTo>
                  <a:pt x="1419954" y="4598719"/>
                </a:lnTo>
                <a:lnTo>
                  <a:pt x="1409763" y="4548337"/>
                </a:lnTo>
                <a:lnTo>
                  <a:pt x="1417623" y="4493695"/>
                </a:lnTo>
                <a:cubicBezTo>
                  <a:pt x="1443297" y="4406752"/>
                  <a:pt x="1504626" y="4335142"/>
                  <a:pt x="1584463" y="4295465"/>
                </a:cubicBezTo>
                <a:cubicBezTo>
                  <a:pt x="1481241" y="4243208"/>
                  <a:pt x="1410276" y="4136115"/>
                  <a:pt x="1410276" y="4012249"/>
                </a:cubicBezTo>
                <a:cubicBezTo>
                  <a:pt x="1410276" y="3874833"/>
                  <a:pt x="1497370" y="3758063"/>
                  <a:pt x="1619945" y="3714194"/>
                </a:cubicBezTo>
                <a:cubicBezTo>
                  <a:pt x="1510272" y="3670970"/>
                  <a:pt x="1432210" y="3564521"/>
                  <a:pt x="1432210" y="3440009"/>
                </a:cubicBezTo>
                <a:cubicBezTo>
                  <a:pt x="1432210" y="3276789"/>
                  <a:pt x="1564463" y="3145180"/>
                  <a:pt x="1727039" y="3145180"/>
                </a:cubicBezTo>
                <a:cubicBezTo>
                  <a:pt x="1821230" y="3145180"/>
                  <a:pt x="1905097" y="3189694"/>
                  <a:pt x="1959290" y="3259370"/>
                </a:cubicBezTo>
                <a:cubicBezTo>
                  <a:pt x="1985740" y="3210339"/>
                  <a:pt x="2022513" y="3167115"/>
                  <a:pt x="2066382" y="3133568"/>
                </a:cubicBezTo>
                <a:cubicBezTo>
                  <a:pt x="2019932" y="3092924"/>
                  <a:pt x="1983805" y="3040022"/>
                  <a:pt x="1963805" y="2980025"/>
                </a:cubicBezTo>
                <a:cubicBezTo>
                  <a:pt x="1921226" y="3068408"/>
                  <a:pt x="1830907" y="3129696"/>
                  <a:pt x="1726393" y="3129696"/>
                </a:cubicBezTo>
                <a:cubicBezTo>
                  <a:pt x="1581237" y="3129696"/>
                  <a:pt x="1463822" y="3012281"/>
                  <a:pt x="1463822" y="2867125"/>
                </a:cubicBezTo>
                <a:cubicBezTo>
                  <a:pt x="1463822" y="2721968"/>
                  <a:pt x="1581237" y="2604553"/>
                  <a:pt x="1726393" y="2604553"/>
                </a:cubicBezTo>
                <a:cubicBezTo>
                  <a:pt x="1831551" y="2604553"/>
                  <a:pt x="1921871" y="2665842"/>
                  <a:pt x="1963805" y="2754226"/>
                </a:cubicBezTo>
                <a:cubicBezTo>
                  <a:pt x="1992191" y="2670357"/>
                  <a:pt x="2051544" y="2600037"/>
                  <a:pt x="2128316" y="2557458"/>
                </a:cubicBezTo>
                <a:cubicBezTo>
                  <a:pt x="2063964" y="2515365"/>
                  <a:pt x="2015941" y="2450406"/>
                  <a:pt x="1995952" y="2374289"/>
                </a:cubicBezTo>
                <a:lnTo>
                  <a:pt x="1989817" y="2326586"/>
                </a:lnTo>
                <a:lnTo>
                  <a:pt x="1993483" y="2308473"/>
                </a:lnTo>
                <a:lnTo>
                  <a:pt x="1987399" y="2278426"/>
                </a:lnTo>
                <a:lnTo>
                  <a:pt x="1992121" y="2231592"/>
                </a:lnTo>
                <a:cubicBezTo>
                  <a:pt x="2021404" y="2088536"/>
                  <a:pt x="2147992" y="1981352"/>
                  <a:pt x="2299279" y="1981352"/>
                </a:cubicBezTo>
                <a:cubicBezTo>
                  <a:pt x="2395404" y="1981352"/>
                  <a:pt x="2481207" y="2024578"/>
                  <a:pt x="2538626" y="2092962"/>
                </a:cubicBezTo>
                <a:cubicBezTo>
                  <a:pt x="2566367" y="2047155"/>
                  <a:pt x="2603784" y="2007158"/>
                  <a:pt x="2647654" y="1976190"/>
                </a:cubicBezTo>
                <a:cubicBezTo>
                  <a:pt x="2596688" y="1931031"/>
                  <a:pt x="2559269" y="1871032"/>
                  <a:pt x="2542496" y="1803293"/>
                </a:cubicBezTo>
                <a:cubicBezTo>
                  <a:pt x="2508304" y="1905871"/>
                  <a:pt x="2412178" y="1979417"/>
                  <a:pt x="2298633" y="1979417"/>
                </a:cubicBezTo>
                <a:cubicBezTo>
                  <a:pt x="2156057" y="1979417"/>
                  <a:pt x="2041223" y="1863936"/>
                  <a:pt x="2041223" y="1722003"/>
                </a:cubicBezTo>
                <a:cubicBezTo>
                  <a:pt x="2041223" y="1579429"/>
                  <a:pt x="2156703" y="1464593"/>
                  <a:pt x="2298633" y="1464593"/>
                </a:cubicBezTo>
                <a:cubicBezTo>
                  <a:pt x="2412178" y="1464593"/>
                  <a:pt x="2508304" y="1538784"/>
                  <a:pt x="2542496" y="1640718"/>
                </a:cubicBezTo>
                <a:cubicBezTo>
                  <a:pt x="2570239" y="1529109"/>
                  <a:pt x="2652815" y="1439433"/>
                  <a:pt x="2760554" y="1402016"/>
                </a:cubicBezTo>
                <a:cubicBezTo>
                  <a:pt x="2663137" y="1358789"/>
                  <a:pt x="2595399" y="1262019"/>
                  <a:pt x="2595399" y="1149118"/>
                </a:cubicBezTo>
                <a:cubicBezTo>
                  <a:pt x="2595399" y="996221"/>
                  <a:pt x="2719264" y="872997"/>
                  <a:pt x="2871517" y="872997"/>
                </a:cubicBezTo>
                <a:cubicBezTo>
                  <a:pt x="2983772" y="872997"/>
                  <a:pt x="3079897" y="939449"/>
                  <a:pt x="3123122" y="1035574"/>
                </a:cubicBezTo>
                <a:cubicBezTo>
                  <a:pt x="3159250" y="932997"/>
                  <a:pt x="3243118" y="853000"/>
                  <a:pt x="3348276" y="822035"/>
                </a:cubicBezTo>
                <a:cubicBezTo>
                  <a:pt x="3249570" y="783327"/>
                  <a:pt x="3179894" y="688491"/>
                  <a:pt x="3179894" y="576235"/>
                </a:cubicBezTo>
                <a:cubicBezTo>
                  <a:pt x="3179894" y="430434"/>
                  <a:pt x="3297955" y="312373"/>
                  <a:pt x="3443756" y="312373"/>
                </a:cubicBezTo>
                <a:cubicBezTo>
                  <a:pt x="3567623" y="312373"/>
                  <a:pt x="3672136" y="398822"/>
                  <a:pt x="3699877" y="514303"/>
                </a:cubicBezTo>
                <a:cubicBezTo>
                  <a:pt x="3728908" y="365921"/>
                  <a:pt x="3859227" y="254311"/>
                  <a:pt x="4015996" y="254311"/>
                </a:cubicBezTo>
                <a:cubicBezTo>
                  <a:pt x="4122445" y="254311"/>
                  <a:pt x="4216635" y="305923"/>
                  <a:pt x="4275343" y="385274"/>
                </a:cubicBezTo>
                <a:cubicBezTo>
                  <a:pt x="4314051" y="321405"/>
                  <a:pt x="4372759" y="270440"/>
                  <a:pt x="4441788" y="240118"/>
                </a:cubicBezTo>
                <a:cubicBezTo>
                  <a:pt x="4363082" y="191087"/>
                  <a:pt x="4310179" y="103993"/>
                  <a:pt x="4310179" y="3997"/>
                </a:cubicBezTo>
                <a:close/>
                <a:moveTo>
                  <a:pt x="3836709" y="0"/>
                </a:moveTo>
                <a:lnTo>
                  <a:pt x="4290765" y="0"/>
                </a:lnTo>
                <a:lnTo>
                  <a:pt x="4294697" y="19521"/>
                </a:lnTo>
                <a:cubicBezTo>
                  <a:pt x="4294697" y="147259"/>
                  <a:pt x="4191475" y="250481"/>
                  <a:pt x="4063738" y="250481"/>
                </a:cubicBezTo>
                <a:cubicBezTo>
                  <a:pt x="3935999" y="250481"/>
                  <a:pt x="3832132" y="146614"/>
                  <a:pt x="3832777" y="19521"/>
                </a:cubicBezTo>
                <a:close/>
                <a:moveTo>
                  <a:pt x="3315960" y="0"/>
                </a:moveTo>
                <a:lnTo>
                  <a:pt x="3665746" y="0"/>
                </a:lnTo>
                <a:lnTo>
                  <a:pt x="3669557" y="18877"/>
                </a:lnTo>
                <a:cubicBezTo>
                  <a:pt x="3669557" y="117572"/>
                  <a:pt x="3589548" y="197580"/>
                  <a:pt x="3490853" y="197580"/>
                </a:cubicBezTo>
                <a:cubicBezTo>
                  <a:pt x="3392157" y="197580"/>
                  <a:pt x="3312149" y="117572"/>
                  <a:pt x="3312149" y="18877"/>
                </a:cubicBezTo>
                <a:close/>
                <a:moveTo>
                  <a:pt x="2797406" y="0"/>
                </a:moveTo>
                <a:lnTo>
                  <a:pt x="3039822" y="0"/>
                </a:lnTo>
                <a:lnTo>
                  <a:pt x="3043771" y="19521"/>
                </a:lnTo>
                <a:cubicBezTo>
                  <a:pt x="3043771" y="88551"/>
                  <a:pt x="2987643" y="144678"/>
                  <a:pt x="2918614" y="144678"/>
                </a:cubicBezTo>
                <a:cubicBezTo>
                  <a:pt x="2849583" y="144678"/>
                  <a:pt x="2793456" y="88551"/>
                  <a:pt x="2793456" y="19521"/>
                </a:cubicBezTo>
                <a:close/>
                <a:moveTo>
                  <a:pt x="2274893" y="0"/>
                </a:moveTo>
                <a:lnTo>
                  <a:pt x="2417855" y="0"/>
                </a:lnTo>
                <a:lnTo>
                  <a:pt x="2421856" y="19518"/>
                </a:lnTo>
                <a:cubicBezTo>
                  <a:pt x="2421856" y="60807"/>
                  <a:pt x="2388308" y="94999"/>
                  <a:pt x="2346375" y="94999"/>
                </a:cubicBezTo>
                <a:cubicBezTo>
                  <a:pt x="2304440" y="94999"/>
                  <a:pt x="2270893" y="60807"/>
                  <a:pt x="2270893" y="19518"/>
                </a:cubicBezTo>
                <a:close/>
                <a:moveTo>
                  <a:pt x="1740884" y="0"/>
                </a:moveTo>
                <a:lnTo>
                  <a:pt x="1806098" y="0"/>
                </a:lnTo>
                <a:lnTo>
                  <a:pt x="1814136" y="19519"/>
                </a:lnTo>
                <a:cubicBezTo>
                  <a:pt x="1814136" y="42100"/>
                  <a:pt x="1796071" y="60163"/>
                  <a:pt x="1773490" y="60163"/>
                </a:cubicBezTo>
                <a:cubicBezTo>
                  <a:pt x="1750911" y="60163"/>
                  <a:pt x="1732847" y="41455"/>
                  <a:pt x="1732847" y="19519"/>
                </a:cubicBezTo>
                <a:close/>
              </a:path>
            </a:pathLst>
          </a:custGeom>
        </p:spPr>
        <p:txBody>
          <a:bodyPr wrap="square" anchor="ctr" anchorCtr="0">
            <a:noAutofit/>
          </a:bodyPr>
          <a:lstStyle>
            <a:lvl1pPr marL="0" indent="0" algn="ctr">
              <a:buNone/>
              <a:defRPr/>
            </a:lvl1pPr>
          </a:lstStyle>
          <a:p>
            <a:r>
              <a:rPr lang="en-US"/>
              <a:t>Add image</a:t>
            </a:r>
          </a:p>
        </p:txBody>
      </p:sp>
      <p:sp>
        <p:nvSpPr>
          <p:cNvPr id="10" name="Slide Number Placeholder 9">
            <a:extLst>
              <a:ext uri="{FF2B5EF4-FFF2-40B4-BE49-F238E27FC236}">
                <a16:creationId xmlns:a16="http://schemas.microsoft.com/office/drawing/2014/main" id="{FE567CD6-3B78-4067-89C5-1D44BD3BA306}"/>
              </a:ext>
            </a:extLst>
          </p:cNvPr>
          <p:cNvSpPr>
            <a:spLocks noGrp="1"/>
          </p:cNvSpPr>
          <p:nvPr>
            <p:ph type="sldNum" sz="quarter" idx="20"/>
          </p:nvPr>
        </p:nvSpPr>
        <p:spPr/>
        <p:txBody>
          <a:bodyPr/>
          <a:lstStyle/>
          <a:p>
            <a:fld id="{9E2BE927-25C7-4379-86F1-C17ED9D2A7F2}" type="slidenum">
              <a:rPr lang="en-US" smtClean="0"/>
              <a:pPr/>
              <a:t>‹#›</a:t>
            </a:fld>
            <a:endParaRPr lang="en-US"/>
          </a:p>
        </p:txBody>
      </p:sp>
      <p:sp>
        <p:nvSpPr>
          <p:cNvPr id="12" name="Text Placeholder 11">
            <a:extLst>
              <a:ext uri="{FF2B5EF4-FFF2-40B4-BE49-F238E27FC236}">
                <a16:creationId xmlns:a16="http://schemas.microsoft.com/office/drawing/2014/main" id="{8BAC30FE-1767-4175-A595-03CBD296F150}"/>
              </a:ext>
            </a:extLst>
          </p:cNvPr>
          <p:cNvSpPr>
            <a:spLocks noGrp="1"/>
          </p:cNvSpPr>
          <p:nvPr>
            <p:ph type="body" sz="quarter" idx="21" hasCustomPrompt="1"/>
          </p:nvPr>
        </p:nvSpPr>
        <p:spPr>
          <a:xfrm>
            <a:off x="358775" y="1798638"/>
            <a:ext cx="5068888" cy="496887"/>
          </a:xfrm>
        </p:spPr>
        <p:txBody>
          <a:bodyPr/>
          <a:lstStyle>
            <a:lvl1pPr marL="0" indent="0">
              <a:buNone/>
              <a:defRPr sz="3200"/>
            </a:lvl1pPr>
            <a:lvl2pPr marL="0" indent="0">
              <a:buNone/>
              <a:defRPr sz="3200"/>
            </a:lvl2pPr>
            <a:lvl3pPr marL="0" indent="0">
              <a:buNone/>
              <a:defRPr sz="3200">
                <a:latin typeface="+mn-lt"/>
              </a:defRPr>
            </a:lvl3pPr>
            <a:lvl4pPr marL="0" indent="0">
              <a:buNone/>
              <a:defRPr sz="3200">
                <a:latin typeface="+mn-lt"/>
              </a:defRPr>
            </a:lvl4pPr>
            <a:lvl5pPr marL="177800" indent="0">
              <a:buNone/>
              <a:defRPr sz="3200">
                <a:latin typeface="+mn-lt"/>
              </a:defRPr>
            </a:lvl5pPr>
          </a:lstStyle>
          <a:p>
            <a:pPr lvl="0"/>
            <a:r>
              <a:rPr lang="en-US"/>
              <a:t>First Name Last Name</a:t>
            </a:r>
          </a:p>
        </p:txBody>
      </p:sp>
      <p:sp>
        <p:nvSpPr>
          <p:cNvPr id="15" name="Text Placeholder 11">
            <a:extLst>
              <a:ext uri="{FF2B5EF4-FFF2-40B4-BE49-F238E27FC236}">
                <a16:creationId xmlns:a16="http://schemas.microsoft.com/office/drawing/2014/main" id="{4E15BA4C-2851-4908-B582-A726DAB9715C}"/>
              </a:ext>
            </a:extLst>
          </p:cNvPr>
          <p:cNvSpPr>
            <a:spLocks noGrp="1"/>
          </p:cNvSpPr>
          <p:nvPr>
            <p:ph type="body" sz="quarter" idx="22" hasCustomPrompt="1"/>
          </p:nvPr>
        </p:nvSpPr>
        <p:spPr>
          <a:xfrm>
            <a:off x="358775" y="3641952"/>
            <a:ext cx="5068888" cy="2315936"/>
          </a:xfrm>
        </p:spPr>
        <p:txBody>
          <a:bodyPr/>
          <a:lstStyle>
            <a:lvl1pPr marL="0" indent="0">
              <a:buNone/>
              <a:defRPr sz="1600">
                <a:latin typeface="+mn-lt"/>
              </a:defRPr>
            </a:lvl1pPr>
            <a:lvl2pPr marL="0" indent="0">
              <a:buNone/>
              <a:defRPr sz="1600">
                <a:latin typeface="+mn-lt"/>
              </a:defRPr>
            </a:lvl2pPr>
            <a:lvl3pPr marL="0" indent="0">
              <a:buNone/>
              <a:defRPr sz="1600">
                <a:latin typeface="+mn-lt"/>
              </a:defRPr>
            </a:lvl3pPr>
            <a:lvl4pPr marL="0" indent="0">
              <a:buNone/>
              <a:defRPr sz="1600">
                <a:latin typeface="+mn-lt"/>
              </a:defRPr>
            </a:lvl4pPr>
            <a:lvl5pPr marL="0" indent="0">
              <a:buNone/>
              <a:defRPr sz="1600">
                <a:latin typeface="+mn-lt"/>
              </a:defRPr>
            </a:lvl5pPr>
          </a:lstStyle>
          <a:p>
            <a:pPr lvl="0"/>
            <a:r>
              <a:rPr lang="en-US"/>
              <a:t>Add biography</a:t>
            </a:r>
          </a:p>
        </p:txBody>
      </p:sp>
      <p:sp>
        <p:nvSpPr>
          <p:cNvPr id="16" name="Text Placeholder 11">
            <a:extLst>
              <a:ext uri="{FF2B5EF4-FFF2-40B4-BE49-F238E27FC236}">
                <a16:creationId xmlns:a16="http://schemas.microsoft.com/office/drawing/2014/main" id="{F838E057-8933-4F9A-98C2-E00BD0C8CC67}"/>
              </a:ext>
            </a:extLst>
          </p:cNvPr>
          <p:cNvSpPr>
            <a:spLocks noGrp="1"/>
          </p:cNvSpPr>
          <p:nvPr>
            <p:ph type="body" sz="quarter" idx="23" hasCustomPrompt="1"/>
          </p:nvPr>
        </p:nvSpPr>
        <p:spPr>
          <a:xfrm>
            <a:off x="358775" y="2295525"/>
            <a:ext cx="5068888" cy="1133475"/>
          </a:xfrm>
        </p:spPr>
        <p:txBody>
          <a:bodyPr/>
          <a:lstStyle>
            <a:lvl1pPr marL="0" indent="0">
              <a:buNone/>
              <a:defRPr sz="3200">
                <a:latin typeface="+mn-lt"/>
              </a:defRPr>
            </a:lvl1pPr>
            <a:lvl2pPr marL="0" indent="0">
              <a:buNone/>
              <a:defRPr sz="3200"/>
            </a:lvl2pPr>
            <a:lvl3pPr marL="0" indent="0">
              <a:buNone/>
              <a:defRPr sz="3200">
                <a:latin typeface="+mn-lt"/>
              </a:defRPr>
            </a:lvl3pPr>
            <a:lvl4pPr marL="0" indent="0">
              <a:buNone/>
              <a:defRPr sz="3200">
                <a:latin typeface="+mn-lt"/>
              </a:defRPr>
            </a:lvl4pPr>
            <a:lvl5pPr marL="177800" indent="0">
              <a:buNone/>
              <a:defRPr sz="3200">
                <a:latin typeface="+mn-lt"/>
              </a:defRPr>
            </a:lvl5pPr>
          </a:lstStyle>
          <a:p>
            <a:pPr lvl="0"/>
            <a:r>
              <a:rPr lang="en-US"/>
              <a:t>Job Title, Company</a:t>
            </a:r>
          </a:p>
        </p:txBody>
      </p:sp>
    </p:spTree>
    <p:extLst>
      <p:ext uri="{BB962C8B-B14F-4D97-AF65-F5344CB8AC3E}">
        <p14:creationId xmlns:p14="http://schemas.microsoft.com/office/powerpoint/2010/main" val="2518412993"/>
      </p:ext>
    </p:extLst>
  </p:cSld>
  <p:clrMapOvr>
    <a:masterClrMapping/>
  </p:clrMapOvr>
  <p:extLst>
    <p:ext uri="{DCECCB84-F9BA-43D5-87BE-67443E8EF086}">
      <p15:sldGuideLst xmlns:p15="http://schemas.microsoft.com/office/powerpoint/2012/main">
        <p15:guide id="1" orient="horz" pos="170" userDrawn="1">
          <p15:clr>
            <a:srgbClr val="717275"/>
          </p15:clr>
        </p15:guide>
        <p15:guide id="2" orient="horz" pos="762" userDrawn="1">
          <p15:clr>
            <a:srgbClr val="717275"/>
          </p15:clr>
        </p15:guide>
        <p15:guide id="3" orient="horz" pos="1133" userDrawn="1">
          <p15:clr>
            <a:srgbClr val="FF96FF"/>
          </p15:clr>
        </p15:guide>
        <p15:guide id="4" orient="horz" pos="3753" userDrawn="1">
          <p15:clr>
            <a:srgbClr val="FF96FF"/>
          </p15:clr>
        </p15:guide>
        <p15:guide id="5" pos="226" userDrawn="1">
          <p15:clr>
            <a:srgbClr val="FF96FF"/>
          </p15:clr>
        </p15:guide>
        <p15:guide id="6" pos="1323" userDrawn="1">
          <p15:clr>
            <a:srgbClr val="FF96FF"/>
          </p15:clr>
        </p15:guide>
        <p15:guide id="7" pos="1453" userDrawn="1">
          <p15:clr>
            <a:srgbClr val="FF96FF"/>
          </p15:clr>
        </p15:guide>
        <p15:guide id="9" pos="2680" userDrawn="1">
          <p15:clr>
            <a:srgbClr val="FF96FF"/>
          </p15:clr>
        </p15:guide>
        <p15:guide id="10" pos="3795" userDrawn="1">
          <p15:clr>
            <a:srgbClr val="FF96FF"/>
          </p15:clr>
        </p15:guide>
        <p15:guide id="11" pos="3908" userDrawn="1">
          <p15:clr>
            <a:srgbClr val="FF96FF"/>
          </p15:clr>
        </p15:guide>
        <p15:guide id="12" pos="4999" userDrawn="1">
          <p15:clr>
            <a:srgbClr val="FF96FF"/>
          </p15:clr>
        </p15:guide>
        <p15:guide id="13" pos="5135" userDrawn="1">
          <p15:clr>
            <a:srgbClr val="FF96FF"/>
          </p15:clr>
        </p15:guide>
        <p15:guide id="14" pos="6226" userDrawn="1">
          <p15:clr>
            <a:srgbClr val="FF96FF"/>
          </p15:clr>
        </p15:guide>
        <p15:guide id="15" pos="6362" userDrawn="1">
          <p15:clr>
            <a:srgbClr val="FF96FF"/>
          </p15:clr>
        </p15:guide>
        <p15:guide id="16" pos="7453" userDrawn="1">
          <p15:clr>
            <a:srgbClr val="FF96FF"/>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eam">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AEF37376-B2FD-48AB-B025-33847E15CB3B}"/>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367FE9DC-36B2-4EF6-81B3-FF56730EE19A}"/>
              </a:ext>
            </a:extLst>
          </p:cNvPr>
          <p:cNvSpPr>
            <a:spLocks noGrp="1"/>
          </p:cNvSpPr>
          <p:nvPr>
            <p:ph type="sldNum" sz="quarter" idx="12"/>
          </p:nvPr>
        </p:nvSpPr>
        <p:spPr/>
        <p:txBody>
          <a:bodyPr/>
          <a:lstStyle/>
          <a:p>
            <a:fld id="{9E2BE927-25C7-4379-86F1-C17ED9D2A7F2}" type="slidenum">
              <a:rPr lang="en-US" smtClean="0"/>
              <a:pPr/>
              <a:t>‹#›</a:t>
            </a:fld>
            <a:endParaRPr lang="en-US"/>
          </a:p>
        </p:txBody>
      </p:sp>
      <p:sp>
        <p:nvSpPr>
          <p:cNvPr id="6" name="Guides" hidden="1">
            <a:extLst>
              <a:ext uri="{FF2B5EF4-FFF2-40B4-BE49-F238E27FC236}">
                <a16:creationId xmlns:a16="http://schemas.microsoft.com/office/drawing/2014/main" id="{43519EE6-2DD5-48FE-8028-EC40E46E618D}"/>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22" name="Picture Placeholder 21">
            <a:extLst>
              <a:ext uri="{FF2B5EF4-FFF2-40B4-BE49-F238E27FC236}">
                <a16:creationId xmlns:a16="http://schemas.microsoft.com/office/drawing/2014/main" id="{89DF3D7C-2012-4482-86D3-CFB853384A1E}"/>
              </a:ext>
            </a:extLst>
          </p:cNvPr>
          <p:cNvSpPr>
            <a:spLocks noGrp="1"/>
          </p:cNvSpPr>
          <p:nvPr>
            <p:ph type="pic" sz="quarter" idx="13" hasCustomPrompt="1"/>
          </p:nvPr>
        </p:nvSpPr>
        <p:spPr>
          <a:xfrm>
            <a:off x="358775" y="1798638"/>
            <a:ext cx="1630364" cy="1630364"/>
          </a:xfrm>
          <a:custGeom>
            <a:avLst/>
            <a:gdLst>
              <a:gd name="connsiteX0" fmla="*/ 815182 w 1630364"/>
              <a:gd name="connsiteY0" fmla="*/ 0 h 1630364"/>
              <a:gd name="connsiteX1" fmla="*/ 1630364 w 1630364"/>
              <a:gd name="connsiteY1" fmla="*/ 815182 h 1630364"/>
              <a:gd name="connsiteX2" fmla="*/ 815182 w 1630364"/>
              <a:gd name="connsiteY2" fmla="*/ 1630364 h 1630364"/>
              <a:gd name="connsiteX3" fmla="*/ 0 w 1630364"/>
              <a:gd name="connsiteY3" fmla="*/ 815182 h 1630364"/>
              <a:gd name="connsiteX4" fmla="*/ 815182 w 1630364"/>
              <a:gd name="connsiteY4" fmla="*/ 0 h 16303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30364" h="1630364">
                <a:moveTo>
                  <a:pt x="815182" y="0"/>
                </a:moveTo>
                <a:cubicBezTo>
                  <a:pt x="1265395" y="0"/>
                  <a:pt x="1630364" y="364969"/>
                  <a:pt x="1630364" y="815182"/>
                </a:cubicBezTo>
                <a:cubicBezTo>
                  <a:pt x="1630364" y="1265395"/>
                  <a:pt x="1265395" y="1630364"/>
                  <a:pt x="815182" y="1630364"/>
                </a:cubicBezTo>
                <a:cubicBezTo>
                  <a:pt x="364969" y="1630364"/>
                  <a:pt x="0" y="1265395"/>
                  <a:pt x="0" y="815182"/>
                </a:cubicBezTo>
                <a:cubicBezTo>
                  <a:pt x="0" y="364969"/>
                  <a:pt x="364969" y="0"/>
                  <a:pt x="815182" y="0"/>
                </a:cubicBezTo>
                <a:close/>
              </a:path>
            </a:pathLst>
          </a:custGeom>
        </p:spPr>
        <p:txBody>
          <a:bodyPr wrap="square" anchor="ctr" anchorCtr="0">
            <a:noAutofit/>
          </a:bodyPr>
          <a:lstStyle>
            <a:lvl1pPr marL="0" indent="0" algn="ctr">
              <a:spcBef>
                <a:spcPts val="0"/>
              </a:spcBef>
              <a:buNone/>
              <a:defRPr sz="1600"/>
            </a:lvl1pPr>
          </a:lstStyle>
          <a:p>
            <a:r>
              <a:rPr lang="en-US"/>
              <a:t>Add </a:t>
            </a:r>
          </a:p>
          <a:p>
            <a:r>
              <a:rPr lang="en-US"/>
              <a:t>image</a:t>
            </a:r>
          </a:p>
        </p:txBody>
      </p:sp>
      <p:sp>
        <p:nvSpPr>
          <p:cNvPr id="10" name="Text Placeholder 11">
            <a:extLst>
              <a:ext uri="{FF2B5EF4-FFF2-40B4-BE49-F238E27FC236}">
                <a16:creationId xmlns:a16="http://schemas.microsoft.com/office/drawing/2014/main" id="{0CB3A235-36BA-4A89-8632-E343C5C86384}"/>
              </a:ext>
            </a:extLst>
          </p:cNvPr>
          <p:cNvSpPr>
            <a:spLocks noGrp="1"/>
          </p:cNvSpPr>
          <p:nvPr>
            <p:ph type="body" sz="quarter" idx="21" hasCustomPrompt="1"/>
          </p:nvPr>
        </p:nvSpPr>
        <p:spPr>
          <a:xfrm>
            <a:off x="358775" y="4110037"/>
            <a:ext cx="2705311" cy="180000"/>
          </a:xfrm>
        </p:spPr>
        <p:txBody>
          <a:bodyPr/>
          <a:lstStyle>
            <a:lvl1pPr marL="0" indent="0">
              <a:buNone/>
              <a:defRPr sz="1100"/>
            </a:lvl1pPr>
            <a:lvl2pPr marL="0" indent="0">
              <a:spcBef>
                <a:spcPts val="300"/>
              </a:spcBef>
              <a:buNone/>
              <a:defRPr sz="1100"/>
            </a:lvl2pPr>
            <a:lvl3pPr marL="0" indent="0">
              <a:buNone/>
              <a:defRPr sz="3200">
                <a:latin typeface="+mn-lt"/>
              </a:defRPr>
            </a:lvl3pPr>
            <a:lvl4pPr marL="0" indent="0">
              <a:buNone/>
              <a:defRPr sz="3200">
                <a:latin typeface="+mn-lt"/>
              </a:defRPr>
            </a:lvl4pPr>
            <a:lvl5pPr marL="177800" indent="0">
              <a:buNone/>
              <a:defRPr sz="3200">
                <a:latin typeface="+mn-lt"/>
              </a:defRPr>
            </a:lvl5pPr>
          </a:lstStyle>
          <a:p>
            <a:pPr lvl="0"/>
            <a:r>
              <a:rPr lang="en-US"/>
              <a:t>First Name Last Name</a:t>
            </a:r>
          </a:p>
          <a:p>
            <a:pPr lvl="0"/>
            <a:endParaRPr lang="en-US"/>
          </a:p>
          <a:p>
            <a:pPr lvl="0"/>
            <a:endParaRPr lang="en-US"/>
          </a:p>
        </p:txBody>
      </p:sp>
      <p:sp>
        <p:nvSpPr>
          <p:cNvPr id="11" name="Text Placeholder 11">
            <a:extLst>
              <a:ext uri="{FF2B5EF4-FFF2-40B4-BE49-F238E27FC236}">
                <a16:creationId xmlns:a16="http://schemas.microsoft.com/office/drawing/2014/main" id="{3C81E87E-86C2-441F-8BC2-56BC77F4622B}"/>
              </a:ext>
            </a:extLst>
          </p:cNvPr>
          <p:cNvSpPr>
            <a:spLocks noGrp="1"/>
          </p:cNvSpPr>
          <p:nvPr>
            <p:ph type="body" sz="quarter" idx="22" hasCustomPrompt="1"/>
          </p:nvPr>
        </p:nvSpPr>
        <p:spPr>
          <a:xfrm>
            <a:off x="359465" y="4762724"/>
            <a:ext cx="2705310" cy="1195164"/>
          </a:xfrm>
        </p:spPr>
        <p:txBody>
          <a:bodyPr/>
          <a:lstStyle>
            <a:lvl1pPr marL="0" indent="0">
              <a:buNone/>
              <a:defRPr sz="1000">
                <a:latin typeface="+mn-lt"/>
              </a:defRPr>
            </a:lvl1pPr>
            <a:lvl2pPr marL="0" indent="0">
              <a:buNone/>
              <a:defRPr sz="1600">
                <a:latin typeface="+mn-lt"/>
              </a:defRPr>
            </a:lvl2pPr>
            <a:lvl3pPr marL="0" indent="0">
              <a:buNone/>
              <a:defRPr sz="1600">
                <a:latin typeface="+mn-lt"/>
              </a:defRPr>
            </a:lvl3pPr>
            <a:lvl4pPr marL="0" indent="0">
              <a:buNone/>
              <a:defRPr sz="1600">
                <a:latin typeface="+mn-lt"/>
              </a:defRPr>
            </a:lvl4pPr>
            <a:lvl5pPr marL="0" indent="0">
              <a:buNone/>
              <a:defRPr sz="1600">
                <a:latin typeface="+mn-lt"/>
              </a:defRPr>
            </a:lvl5pPr>
          </a:lstStyle>
          <a:p>
            <a:pPr lvl="0"/>
            <a:r>
              <a:rPr lang="en-US"/>
              <a:t>Add biography</a:t>
            </a:r>
          </a:p>
        </p:txBody>
      </p:sp>
      <p:sp>
        <p:nvSpPr>
          <p:cNvPr id="13" name="Text Placeholder 11">
            <a:extLst>
              <a:ext uri="{FF2B5EF4-FFF2-40B4-BE49-F238E27FC236}">
                <a16:creationId xmlns:a16="http://schemas.microsoft.com/office/drawing/2014/main" id="{9B284DEE-FBF9-4B12-8CAC-08EA5237D530}"/>
              </a:ext>
            </a:extLst>
          </p:cNvPr>
          <p:cNvSpPr>
            <a:spLocks noGrp="1"/>
          </p:cNvSpPr>
          <p:nvPr>
            <p:ph type="body" sz="quarter" idx="24" hasCustomPrompt="1"/>
          </p:nvPr>
        </p:nvSpPr>
        <p:spPr>
          <a:xfrm>
            <a:off x="358086" y="4290037"/>
            <a:ext cx="2705311" cy="180000"/>
          </a:xfrm>
        </p:spPr>
        <p:txBody>
          <a:bodyPr/>
          <a:lstStyle>
            <a:lvl1pPr marL="0" indent="0">
              <a:buNone/>
              <a:defRPr sz="1100" baseline="0">
                <a:latin typeface="+mn-lt"/>
              </a:defRPr>
            </a:lvl1pPr>
            <a:lvl2pPr marL="0" indent="0">
              <a:spcBef>
                <a:spcPts val="300"/>
              </a:spcBef>
              <a:buNone/>
              <a:defRPr sz="1100"/>
            </a:lvl2pPr>
            <a:lvl3pPr marL="0" indent="0">
              <a:buNone/>
              <a:defRPr sz="3200">
                <a:latin typeface="+mn-lt"/>
              </a:defRPr>
            </a:lvl3pPr>
            <a:lvl4pPr marL="0" indent="0">
              <a:buNone/>
              <a:defRPr sz="3200">
                <a:latin typeface="+mn-lt"/>
              </a:defRPr>
            </a:lvl4pPr>
            <a:lvl5pPr marL="177800" indent="0">
              <a:buNone/>
              <a:defRPr sz="3200">
                <a:latin typeface="+mn-lt"/>
              </a:defRPr>
            </a:lvl5pPr>
          </a:lstStyle>
          <a:p>
            <a:pPr lvl="0"/>
            <a:r>
              <a:rPr lang="en-US"/>
              <a:t>Job Title, Company</a:t>
            </a:r>
          </a:p>
        </p:txBody>
      </p:sp>
      <p:sp>
        <p:nvSpPr>
          <p:cNvPr id="14" name="Text Placeholder 11">
            <a:extLst>
              <a:ext uri="{FF2B5EF4-FFF2-40B4-BE49-F238E27FC236}">
                <a16:creationId xmlns:a16="http://schemas.microsoft.com/office/drawing/2014/main" id="{0C3B1F89-2B51-4803-AA81-E770D55BE140}"/>
              </a:ext>
            </a:extLst>
          </p:cNvPr>
          <p:cNvSpPr>
            <a:spLocks noGrp="1"/>
          </p:cNvSpPr>
          <p:nvPr>
            <p:ph type="body" sz="quarter" idx="25" hasCustomPrompt="1"/>
          </p:nvPr>
        </p:nvSpPr>
        <p:spPr>
          <a:xfrm>
            <a:off x="3282053" y="4755524"/>
            <a:ext cx="2705310" cy="1195164"/>
          </a:xfrm>
        </p:spPr>
        <p:txBody>
          <a:bodyPr/>
          <a:lstStyle>
            <a:lvl1pPr marL="0" indent="0">
              <a:buNone/>
              <a:defRPr sz="1000">
                <a:latin typeface="+mn-lt"/>
              </a:defRPr>
            </a:lvl1pPr>
            <a:lvl2pPr marL="0" indent="0">
              <a:buNone/>
              <a:defRPr sz="1600">
                <a:latin typeface="+mn-lt"/>
              </a:defRPr>
            </a:lvl2pPr>
            <a:lvl3pPr marL="0" indent="0">
              <a:buNone/>
              <a:defRPr sz="1600">
                <a:latin typeface="+mn-lt"/>
              </a:defRPr>
            </a:lvl3pPr>
            <a:lvl4pPr marL="0" indent="0">
              <a:buNone/>
              <a:defRPr sz="1600">
                <a:latin typeface="+mn-lt"/>
              </a:defRPr>
            </a:lvl4pPr>
            <a:lvl5pPr marL="0" indent="0">
              <a:buNone/>
              <a:defRPr sz="1600">
                <a:latin typeface="+mn-lt"/>
              </a:defRPr>
            </a:lvl5pPr>
          </a:lstStyle>
          <a:p>
            <a:pPr lvl="0"/>
            <a:r>
              <a:rPr lang="en-US"/>
              <a:t>Add biography</a:t>
            </a:r>
          </a:p>
        </p:txBody>
      </p:sp>
      <p:sp>
        <p:nvSpPr>
          <p:cNvPr id="17" name="Text Placeholder 11">
            <a:extLst>
              <a:ext uri="{FF2B5EF4-FFF2-40B4-BE49-F238E27FC236}">
                <a16:creationId xmlns:a16="http://schemas.microsoft.com/office/drawing/2014/main" id="{8CDD4FF4-10BE-4B8A-BB7D-A9E41E108E70}"/>
              </a:ext>
            </a:extLst>
          </p:cNvPr>
          <p:cNvSpPr>
            <a:spLocks noGrp="1"/>
          </p:cNvSpPr>
          <p:nvPr>
            <p:ph type="body" sz="quarter" idx="28" hasCustomPrompt="1"/>
          </p:nvPr>
        </p:nvSpPr>
        <p:spPr>
          <a:xfrm>
            <a:off x="6204641" y="4766324"/>
            <a:ext cx="2705310" cy="1195164"/>
          </a:xfrm>
        </p:spPr>
        <p:txBody>
          <a:bodyPr/>
          <a:lstStyle>
            <a:lvl1pPr marL="0" indent="0">
              <a:buNone/>
              <a:defRPr sz="1000">
                <a:latin typeface="+mn-lt"/>
              </a:defRPr>
            </a:lvl1pPr>
            <a:lvl2pPr marL="0" indent="0">
              <a:buNone/>
              <a:defRPr sz="1600">
                <a:latin typeface="+mn-lt"/>
              </a:defRPr>
            </a:lvl2pPr>
            <a:lvl3pPr marL="0" indent="0">
              <a:buNone/>
              <a:defRPr sz="1600">
                <a:latin typeface="+mn-lt"/>
              </a:defRPr>
            </a:lvl3pPr>
            <a:lvl4pPr marL="0" indent="0">
              <a:buNone/>
              <a:defRPr sz="1600">
                <a:latin typeface="+mn-lt"/>
              </a:defRPr>
            </a:lvl4pPr>
            <a:lvl5pPr marL="0" indent="0">
              <a:buNone/>
              <a:defRPr sz="1600">
                <a:latin typeface="+mn-lt"/>
              </a:defRPr>
            </a:lvl5pPr>
          </a:lstStyle>
          <a:p>
            <a:pPr lvl="0"/>
            <a:r>
              <a:rPr lang="en-US"/>
              <a:t>Add biography</a:t>
            </a:r>
          </a:p>
        </p:txBody>
      </p:sp>
      <p:sp>
        <p:nvSpPr>
          <p:cNvPr id="20" name="Text Placeholder 11">
            <a:extLst>
              <a:ext uri="{FF2B5EF4-FFF2-40B4-BE49-F238E27FC236}">
                <a16:creationId xmlns:a16="http://schemas.microsoft.com/office/drawing/2014/main" id="{A4833988-7703-4670-BBA7-955D2D020051}"/>
              </a:ext>
            </a:extLst>
          </p:cNvPr>
          <p:cNvSpPr>
            <a:spLocks noGrp="1"/>
          </p:cNvSpPr>
          <p:nvPr>
            <p:ph type="body" sz="quarter" idx="31" hasCustomPrompt="1"/>
          </p:nvPr>
        </p:nvSpPr>
        <p:spPr>
          <a:xfrm>
            <a:off x="9124416" y="4766324"/>
            <a:ext cx="2705310" cy="1195164"/>
          </a:xfrm>
        </p:spPr>
        <p:txBody>
          <a:bodyPr/>
          <a:lstStyle>
            <a:lvl1pPr marL="0" indent="0">
              <a:buNone/>
              <a:defRPr sz="1000">
                <a:latin typeface="+mn-lt"/>
              </a:defRPr>
            </a:lvl1pPr>
            <a:lvl2pPr marL="0" indent="0">
              <a:buNone/>
              <a:defRPr sz="1600">
                <a:latin typeface="+mn-lt"/>
              </a:defRPr>
            </a:lvl2pPr>
            <a:lvl3pPr marL="0" indent="0">
              <a:buNone/>
              <a:defRPr sz="1600">
                <a:latin typeface="+mn-lt"/>
              </a:defRPr>
            </a:lvl3pPr>
            <a:lvl4pPr marL="0" indent="0">
              <a:buNone/>
              <a:defRPr sz="1600">
                <a:latin typeface="+mn-lt"/>
              </a:defRPr>
            </a:lvl4pPr>
            <a:lvl5pPr marL="0" indent="0">
              <a:buNone/>
              <a:defRPr sz="1600">
                <a:latin typeface="+mn-lt"/>
              </a:defRPr>
            </a:lvl5pPr>
          </a:lstStyle>
          <a:p>
            <a:pPr lvl="0"/>
            <a:r>
              <a:rPr lang="en-US"/>
              <a:t>Add biography</a:t>
            </a:r>
          </a:p>
        </p:txBody>
      </p:sp>
      <p:sp>
        <p:nvSpPr>
          <p:cNvPr id="23" name="Picture Placeholder 22">
            <a:extLst>
              <a:ext uri="{FF2B5EF4-FFF2-40B4-BE49-F238E27FC236}">
                <a16:creationId xmlns:a16="http://schemas.microsoft.com/office/drawing/2014/main" id="{87D64EBA-46E7-416E-858E-9E600D31BD62}"/>
              </a:ext>
            </a:extLst>
          </p:cNvPr>
          <p:cNvSpPr>
            <a:spLocks noGrp="1"/>
          </p:cNvSpPr>
          <p:nvPr>
            <p:ph type="pic" sz="quarter" idx="32" hasCustomPrompt="1"/>
          </p:nvPr>
        </p:nvSpPr>
        <p:spPr>
          <a:xfrm>
            <a:off x="3281363" y="1798638"/>
            <a:ext cx="1630364" cy="1630364"/>
          </a:xfrm>
          <a:custGeom>
            <a:avLst/>
            <a:gdLst>
              <a:gd name="connsiteX0" fmla="*/ 815182 w 1630364"/>
              <a:gd name="connsiteY0" fmla="*/ 0 h 1630364"/>
              <a:gd name="connsiteX1" fmla="*/ 1630364 w 1630364"/>
              <a:gd name="connsiteY1" fmla="*/ 815182 h 1630364"/>
              <a:gd name="connsiteX2" fmla="*/ 815182 w 1630364"/>
              <a:gd name="connsiteY2" fmla="*/ 1630364 h 1630364"/>
              <a:gd name="connsiteX3" fmla="*/ 0 w 1630364"/>
              <a:gd name="connsiteY3" fmla="*/ 815182 h 1630364"/>
              <a:gd name="connsiteX4" fmla="*/ 815182 w 1630364"/>
              <a:gd name="connsiteY4" fmla="*/ 0 h 16303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30364" h="1630364">
                <a:moveTo>
                  <a:pt x="815182" y="0"/>
                </a:moveTo>
                <a:cubicBezTo>
                  <a:pt x="1265395" y="0"/>
                  <a:pt x="1630364" y="364969"/>
                  <a:pt x="1630364" y="815182"/>
                </a:cubicBezTo>
                <a:cubicBezTo>
                  <a:pt x="1630364" y="1265395"/>
                  <a:pt x="1265395" y="1630364"/>
                  <a:pt x="815182" y="1630364"/>
                </a:cubicBezTo>
                <a:cubicBezTo>
                  <a:pt x="364969" y="1630364"/>
                  <a:pt x="0" y="1265395"/>
                  <a:pt x="0" y="815182"/>
                </a:cubicBezTo>
                <a:cubicBezTo>
                  <a:pt x="0" y="364969"/>
                  <a:pt x="364969" y="0"/>
                  <a:pt x="815182" y="0"/>
                </a:cubicBezTo>
                <a:close/>
              </a:path>
            </a:pathLst>
          </a:custGeom>
        </p:spPr>
        <p:txBody>
          <a:bodyPr wrap="square" anchor="ctr" anchorCtr="0">
            <a:noAutofit/>
          </a:bodyPr>
          <a:lstStyle>
            <a:lvl1pPr marL="0" indent="0" algn="ctr">
              <a:spcBef>
                <a:spcPts val="0"/>
              </a:spcBef>
              <a:buNone/>
              <a:defRPr sz="1600"/>
            </a:lvl1pPr>
          </a:lstStyle>
          <a:p>
            <a:r>
              <a:rPr lang="en-US"/>
              <a:t>Add </a:t>
            </a:r>
          </a:p>
          <a:p>
            <a:r>
              <a:rPr lang="en-US"/>
              <a:t>image</a:t>
            </a:r>
          </a:p>
        </p:txBody>
      </p:sp>
      <p:sp>
        <p:nvSpPr>
          <p:cNvPr id="24" name="Picture Placeholder 23">
            <a:extLst>
              <a:ext uri="{FF2B5EF4-FFF2-40B4-BE49-F238E27FC236}">
                <a16:creationId xmlns:a16="http://schemas.microsoft.com/office/drawing/2014/main" id="{922F2B85-8898-4229-AFDB-5B818CE0DAB3}"/>
              </a:ext>
            </a:extLst>
          </p:cNvPr>
          <p:cNvSpPr>
            <a:spLocks noGrp="1"/>
          </p:cNvSpPr>
          <p:nvPr>
            <p:ph type="pic" sz="quarter" idx="33" hasCustomPrompt="1"/>
          </p:nvPr>
        </p:nvSpPr>
        <p:spPr>
          <a:xfrm>
            <a:off x="6203951" y="1798638"/>
            <a:ext cx="1630364" cy="1630364"/>
          </a:xfrm>
          <a:custGeom>
            <a:avLst/>
            <a:gdLst>
              <a:gd name="connsiteX0" fmla="*/ 815182 w 1630364"/>
              <a:gd name="connsiteY0" fmla="*/ 0 h 1630364"/>
              <a:gd name="connsiteX1" fmla="*/ 1630364 w 1630364"/>
              <a:gd name="connsiteY1" fmla="*/ 815182 h 1630364"/>
              <a:gd name="connsiteX2" fmla="*/ 815182 w 1630364"/>
              <a:gd name="connsiteY2" fmla="*/ 1630364 h 1630364"/>
              <a:gd name="connsiteX3" fmla="*/ 0 w 1630364"/>
              <a:gd name="connsiteY3" fmla="*/ 815182 h 1630364"/>
              <a:gd name="connsiteX4" fmla="*/ 815182 w 1630364"/>
              <a:gd name="connsiteY4" fmla="*/ 0 h 16303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30364" h="1630364">
                <a:moveTo>
                  <a:pt x="815182" y="0"/>
                </a:moveTo>
                <a:cubicBezTo>
                  <a:pt x="1265395" y="0"/>
                  <a:pt x="1630364" y="364969"/>
                  <a:pt x="1630364" y="815182"/>
                </a:cubicBezTo>
                <a:cubicBezTo>
                  <a:pt x="1630364" y="1265395"/>
                  <a:pt x="1265395" y="1630364"/>
                  <a:pt x="815182" y="1630364"/>
                </a:cubicBezTo>
                <a:cubicBezTo>
                  <a:pt x="364969" y="1630364"/>
                  <a:pt x="0" y="1265395"/>
                  <a:pt x="0" y="815182"/>
                </a:cubicBezTo>
                <a:cubicBezTo>
                  <a:pt x="0" y="364969"/>
                  <a:pt x="364969" y="0"/>
                  <a:pt x="815182" y="0"/>
                </a:cubicBezTo>
                <a:close/>
              </a:path>
            </a:pathLst>
          </a:custGeom>
        </p:spPr>
        <p:txBody>
          <a:bodyPr wrap="square" anchor="ctr" anchorCtr="0">
            <a:noAutofit/>
          </a:bodyPr>
          <a:lstStyle>
            <a:lvl1pPr marL="0" indent="0" algn="ctr">
              <a:spcBef>
                <a:spcPts val="0"/>
              </a:spcBef>
              <a:buNone/>
              <a:defRPr sz="1600"/>
            </a:lvl1pPr>
          </a:lstStyle>
          <a:p>
            <a:r>
              <a:rPr lang="en-US"/>
              <a:t>Add </a:t>
            </a:r>
          </a:p>
          <a:p>
            <a:r>
              <a:rPr lang="en-US"/>
              <a:t>image</a:t>
            </a:r>
          </a:p>
        </p:txBody>
      </p:sp>
      <p:sp>
        <p:nvSpPr>
          <p:cNvPr id="25" name="Picture Placeholder 24">
            <a:extLst>
              <a:ext uri="{FF2B5EF4-FFF2-40B4-BE49-F238E27FC236}">
                <a16:creationId xmlns:a16="http://schemas.microsoft.com/office/drawing/2014/main" id="{C6AE4C92-FE95-4268-8D5A-398BDF4B9FA9}"/>
              </a:ext>
            </a:extLst>
          </p:cNvPr>
          <p:cNvSpPr>
            <a:spLocks noGrp="1"/>
          </p:cNvSpPr>
          <p:nvPr>
            <p:ph type="pic" sz="quarter" idx="34" hasCustomPrompt="1"/>
          </p:nvPr>
        </p:nvSpPr>
        <p:spPr>
          <a:xfrm>
            <a:off x="9123726" y="1798638"/>
            <a:ext cx="1630364" cy="1630364"/>
          </a:xfrm>
          <a:custGeom>
            <a:avLst/>
            <a:gdLst>
              <a:gd name="connsiteX0" fmla="*/ 815182 w 1630364"/>
              <a:gd name="connsiteY0" fmla="*/ 0 h 1630364"/>
              <a:gd name="connsiteX1" fmla="*/ 1630364 w 1630364"/>
              <a:gd name="connsiteY1" fmla="*/ 815182 h 1630364"/>
              <a:gd name="connsiteX2" fmla="*/ 815182 w 1630364"/>
              <a:gd name="connsiteY2" fmla="*/ 1630364 h 1630364"/>
              <a:gd name="connsiteX3" fmla="*/ 0 w 1630364"/>
              <a:gd name="connsiteY3" fmla="*/ 815182 h 1630364"/>
              <a:gd name="connsiteX4" fmla="*/ 815182 w 1630364"/>
              <a:gd name="connsiteY4" fmla="*/ 0 h 16303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30364" h="1630364">
                <a:moveTo>
                  <a:pt x="815182" y="0"/>
                </a:moveTo>
                <a:cubicBezTo>
                  <a:pt x="1265395" y="0"/>
                  <a:pt x="1630364" y="364969"/>
                  <a:pt x="1630364" y="815182"/>
                </a:cubicBezTo>
                <a:cubicBezTo>
                  <a:pt x="1630364" y="1265395"/>
                  <a:pt x="1265395" y="1630364"/>
                  <a:pt x="815182" y="1630364"/>
                </a:cubicBezTo>
                <a:cubicBezTo>
                  <a:pt x="364969" y="1630364"/>
                  <a:pt x="0" y="1265395"/>
                  <a:pt x="0" y="815182"/>
                </a:cubicBezTo>
                <a:cubicBezTo>
                  <a:pt x="0" y="364969"/>
                  <a:pt x="364969" y="0"/>
                  <a:pt x="815182" y="0"/>
                </a:cubicBezTo>
                <a:close/>
              </a:path>
            </a:pathLst>
          </a:custGeom>
        </p:spPr>
        <p:txBody>
          <a:bodyPr wrap="square" anchor="ctr" anchorCtr="0">
            <a:noAutofit/>
          </a:bodyPr>
          <a:lstStyle>
            <a:lvl1pPr marL="0" indent="0" algn="ctr">
              <a:spcBef>
                <a:spcPts val="0"/>
              </a:spcBef>
              <a:buNone/>
              <a:defRPr sz="1600"/>
            </a:lvl1pPr>
          </a:lstStyle>
          <a:p>
            <a:r>
              <a:rPr lang="en-US"/>
              <a:t>Add </a:t>
            </a:r>
          </a:p>
          <a:p>
            <a:r>
              <a:rPr lang="en-US"/>
              <a:t>image</a:t>
            </a:r>
          </a:p>
        </p:txBody>
      </p:sp>
      <p:sp>
        <p:nvSpPr>
          <p:cNvPr id="30" name="Text Placeholder 11">
            <a:extLst>
              <a:ext uri="{FF2B5EF4-FFF2-40B4-BE49-F238E27FC236}">
                <a16:creationId xmlns:a16="http://schemas.microsoft.com/office/drawing/2014/main" id="{7200D26E-A515-49EB-BE84-EF1A30D3E1FB}"/>
              </a:ext>
            </a:extLst>
          </p:cNvPr>
          <p:cNvSpPr>
            <a:spLocks noGrp="1"/>
          </p:cNvSpPr>
          <p:nvPr>
            <p:ph type="body" sz="quarter" idx="39" hasCustomPrompt="1"/>
          </p:nvPr>
        </p:nvSpPr>
        <p:spPr>
          <a:xfrm>
            <a:off x="3280674" y="4110037"/>
            <a:ext cx="2705311" cy="180000"/>
          </a:xfrm>
        </p:spPr>
        <p:txBody>
          <a:bodyPr/>
          <a:lstStyle>
            <a:lvl1pPr marL="0" indent="0">
              <a:buNone/>
              <a:defRPr sz="1100"/>
            </a:lvl1pPr>
            <a:lvl2pPr marL="0" indent="0">
              <a:spcBef>
                <a:spcPts val="300"/>
              </a:spcBef>
              <a:buNone/>
              <a:defRPr sz="1100"/>
            </a:lvl2pPr>
            <a:lvl3pPr marL="0" indent="0">
              <a:buNone/>
              <a:defRPr sz="3200">
                <a:latin typeface="+mn-lt"/>
              </a:defRPr>
            </a:lvl3pPr>
            <a:lvl4pPr marL="0" indent="0">
              <a:buNone/>
              <a:defRPr sz="3200">
                <a:latin typeface="+mn-lt"/>
              </a:defRPr>
            </a:lvl4pPr>
            <a:lvl5pPr marL="177800" indent="0">
              <a:buNone/>
              <a:defRPr sz="3200">
                <a:latin typeface="+mn-lt"/>
              </a:defRPr>
            </a:lvl5pPr>
          </a:lstStyle>
          <a:p>
            <a:pPr lvl="0"/>
            <a:r>
              <a:rPr lang="en-US"/>
              <a:t>First Name Last Name</a:t>
            </a:r>
          </a:p>
          <a:p>
            <a:pPr lvl="0"/>
            <a:endParaRPr lang="en-US"/>
          </a:p>
          <a:p>
            <a:pPr lvl="0"/>
            <a:endParaRPr lang="en-US"/>
          </a:p>
        </p:txBody>
      </p:sp>
      <p:sp>
        <p:nvSpPr>
          <p:cNvPr id="31" name="Text Placeholder 11">
            <a:extLst>
              <a:ext uri="{FF2B5EF4-FFF2-40B4-BE49-F238E27FC236}">
                <a16:creationId xmlns:a16="http://schemas.microsoft.com/office/drawing/2014/main" id="{D8A8956B-591F-4412-A18F-677993039BD8}"/>
              </a:ext>
            </a:extLst>
          </p:cNvPr>
          <p:cNvSpPr>
            <a:spLocks noGrp="1"/>
          </p:cNvSpPr>
          <p:nvPr>
            <p:ph type="body" sz="quarter" idx="40" hasCustomPrompt="1"/>
          </p:nvPr>
        </p:nvSpPr>
        <p:spPr>
          <a:xfrm>
            <a:off x="3279985" y="4290037"/>
            <a:ext cx="2705311" cy="180000"/>
          </a:xfrm>
        </p:spPr>
        <p:txBody>
          <a:bodyPr/>
          <a:lstStyle>
            <a:lvl1pPr marL="0" indent="0">
              <a:buNone/>
              <a:defRPr sz="1100" baseline="0">
                <a:latin typeface="+mn-lt"/>
              </a:defRPr>
            </a:lvl1pPr>
            <a:lvl2pPr marL="0" indent="0">
              <a:spcBef>
                <a:spcPts val="300"/>
              </a:spcBef>
              <a:buNone/>
              <a:defRPr sz="1100"/>
            </a:lvl2pPr>
            <a:lvl3pPr marL="0" indent="0">
              <a:buNone/>
              <a:defRPr sz="3200">
                <a:latin typeface="+mn-lt"/>
              </a:defRPr>
            </a:lvl3pPr>
            <a:lvl4pPr marL="0" indent="0">
              <a:buNone/>
              <a:defRPr sz="3200">
                <a:latin typeface="+mn-lt"/>
              </a:defRPr>
            </a:lvl4pPr>
            <a:lvl5pPr marL="177800" indent="0">
              <a:buNone/>
              <a:defRPr sz="3200">
                <a:latin typeface="+mn-lt"/>
              </a:defRPr>
            </a:lvl5pPr>
          </a:lstStyle>
          <a:p>
            <a:pPr lvl="0"/>
            <a:r>
              <a:rPr lang="en-US"/>
              <a:t>Job Title, Company</a:t>
            </a:r>
          </a:p>
        </p:txBody>
      </p:sp>
      <p:sp>
        <p:nvSpPr>
          <p:cNvPr id="32" name="Text Placeholder 11">
            <a:extLst>
              <a:ext uri="{FF2B5EF4-FFF2-40B4-BE49-F238E27FC236}">
                <a16:creationId xmlns:a16="http://schemas.microsoft.com/office/drawing/2014/main" id="{E0003D8B-21E2-43CC-B944-A41DF737B757}"/>
              </a:ext>
            </a:extLst>
          </p:cNvPr>
          <p:cNvSpPr>
            <a:spLocks noGrp="1"/>
          </p:cNvSpPr>
          <p:nvPr>
            <p:ph type="body" sz="quarter" idx="41" hasCustomPrompt="1"/>
          </p:nvPr>
        </p:nvSpPr>
        <p:spPr>
          <a:xfrm>
            <a:off x="6203951" y="4110037"/>
            <a:ext cx="2705311" cy="180000"/>
          </a:xfrm>
        </p:spPr>
        <p:txBody>
          <a:bodyPr/>
          <a:lstStyle>
            <a:lvl1pPr marL="0" indent="0">
              <a:buNone/>
              <a:defRPr sz="1100"/>
            </a:lvl1pPr>
            <a:lvl2pPr marL="0" indent="0">
              <a:spcBef>
                <a:spcPts val="300"/>
              </a:spcBef>
              <a:buNone/>
              <a:defRPr sz="1100"/>
            </a:lvl2pPr>
            <a:lvl3pPr marL="0" indent="0">
              <a:buNone/>
              <a:defRPr sz="3200">
                <a:latin typeface="+mn-lt"/>
              </a:defRPr>
            </a:lvl3pPr>
            <a:lvl4pPr marL="0" indent="0">
              <a:buNone/>
              <a:defRPr sz="3200">
                <a:latin typeface="+mn-lt"/>
              </a:defRPr>
            </a:lvl4pPr>
            <a:lvl5pPr marL="177800" indent="0">
              <a:buNone/>
              <a:defRPr sz="3200">
                <a:latin typeface="+mn-lt"/>
              </a:defRPr>
            </a:lvl5pPr>
          </a:lstStyle>
          <a:p>
            <a:pPr lvl="0"/>
            <a:r>
              <a:rPr lang="en-US"/>
              <a:t>First Name Last Name</a:t>
            </a:r>
          </a:p>
          <a:p>
            <a:pPr lvl="0"/>
            <a:endParaRPr lang="en-US"/>
          </a:p>
          <a:p>
            <a:pPr lvl="0"/>
            <a:endParaRPr lang="en-US"/>
          </a:p>
        </p:txBody>
      </p:sp>
      <p:sp>
        <p:nvSpPr>
          <p:cNvPr id="33" name="Text Placeholder 11">
            <a:extLst>
              <a:ext uri="{FF2B5EF4-FFF2-40B4-BE49-F238E27FC236}">
                <a16:creationId xmlns:a16="http://schemas.microsoft.com/office/drawing/2014/main" id="{CE6FCABE-4211-42FB-A6B4-AC8F654572A8}"/>
              </a:ext>
            </a:extLst>
          </p:cNvPr>
          <p:cNvSpPr>
            <a:spLocks noGrp="1"/>
          </p:cNvSpPr>
          <p:nvPr>
            <p:ph type="body" sz="quarter" idx="42" hasCustomPrompt="1"/>
          </p:nvPr>
        </p:nvSpPr>
        <p:spPr>
          <a:xfrm>
            <a:off x="6203262" y="4290037"/>
            <a:ext cx="2705311" cy="180000"/>
          </a:xfrm>
        </p:spPr>
        <p:txBody>
          <a:bodyPr/>
          <a:lstStyle>
            <a:lvl1pPr marL="0" indent="0">
              <a:buNone/>
              <a:defRPr sz="1100" baseline="0">
                <a:latin typeface="+mn-lt"/>
              </a:defRPr>
            </a:lvl1pPr>
            <a:lvl2pPr marL="0" indent="0">
              <a:spcBef>
                <a:spcPts val="300"/>
              </a:spcBef>
              <a:buNone/>
              <a:defRPr sz="1100"/>
            </a:lvl2pPr>
            <a:lvl3pPr marL="0" indent="0">
              <a:buNone/>
              <a:defRPr sz="3200">
                <a:latin typeface="+mn-lt"/>
              </a:defRPr>
            </a:lvl3pPr>
            <a:lvl4pPr marL="0" indent="0">
              <a:buNone/>
              <a:defRPr sz="3200">
                <a:latin typeface="+mn-lt"/>
              </a:defRPr>
            </a:lvl4pPr>
            <a:lvl5pPr marL="177800" indent="0">
              <a:buNone/>
              <a:defRPr sz="3200">
                <a:latin typeface="+mn-lt"/>
              </a:defRPr>
            </a:lvl5pPr>
          </a:lstStyle>
          <a:p>
            <a:pPr lvl="0"/>
            <a:r>
              <a:rPr lang="en-US"/>
              <a:t>Job Title, Company</a:t>
            </a:r>
          </a:p>
        </p:txBody>
      </p:sp>
      <p:sp>
        <p:nvSpPr>
          <p:cNvPr id="34" name="Text Placeholder 11">
            <a:extLst>
              <a:ext uri="{FF2B5EF4-FFF2-40B4-BE49-F238E27FC236}">
                <a16:creationId xmlns:a16="http://schemas.microsoft.com/office/drawing/2014/main" id="{688685DE-A8C4-4EA1-AC89-C40A5D9BB782}"/>
              </a:ext>
            </a:extLst>
          </p:cNvPr>
          <p:cNvSpPr>
            <a:spLocks noGrp="1"/>
          </p:cNvSpPr>
          <p:nvPr>
            <p:ph type="body" sz="quarter" idx="43" hasCustomPrompt="1"/>
          </p:nvPr>
        </p:nvSpPr>
        <p:spPr>
          <a:xfrm>
            <a:off x="9123726" y="4110037"/>
            <a:ext cx="2705311" cy="180000"/>
          </a:xfrm>
        </p:spPr>
        <p:txBody>
          <a:bodyPr/>
          <a:lstStyle>
            <a:lvl1pPr marL="0" indent="0">
              <a:buNone/>
              <a:defRPr sz="1100"/>
            </a:lvl1pPr>
            <a:lvl2pPr marL="0" indent="0">
              <a:spcBef>
                <a:spcPts val="300"/>
              </a:spcBef>
              <a:buNone/>
              <a:defRPr sz="1100"/>
            </a:lvl2pPr>
            <a:lvl3pPr marL="0" indent="0">
              <a:buNone/>
              <a:defRPr sz="3200">
                <a:latin typeface="+mn-lt"/>
              </a:defRPr>
            </a:lvl3pPr>
            <a:lvl4pPr marL="0" indent="0">
              <a:buNone/>
              <a:defRPr sz="3200">
                <a:latin typeface="+mn-lt"/>
              </a:defRPr>
            </a:lvl4pPr>
            <a:lvl5pPr marL="177800" indent="0">
              <a:buNone/>
              <a:defRPr sz="3200">
                <a:latin typeface="+mn-lt"/>
              </a:defRPr>
            </a:lvl5pPr>
          </a:lstStyle>
          <a:p>
            <a:pPr lvl="0"/>
            <a:r>
              <a:rPr lang="en-US"/>
              <a:t>First Name Last Name</a:t>
            </a:r>
          </a:p>
          <a:p>
            <a:pPr lvl="0"/>
            <a:endParaRPr lang="en-US"/>
          </a:p>
          <a:p>
            <a:pPr lvl="0"/>
            <a:endParaRPr lang="en-US"/>
          </a:p>
        </p:txBody>
      </p:sp>
      <p:sp>
        <p:nvSpPr>
          <p:cNvPr id="35" name="Text Placeholder 11">
            <a:extLst>
              <a:ext uri="{FF2B5EF4-FFF2-40B4-BE49-F238E27FC236}">
                <a16:creationId xmlns:a16="http://schemas.microsoft.com/office/drawing/2014/main" id="{D6C0EC03-56B7-49CF-8D18-ABCE69A2EA86}"/>
              </a:ext>
            </a:extLst>
          </p:cNvPr>
          <p:cNvSpPr>
            <a:spLocks noGrp="1"/>
          </p:cNvSpPr>
          <p:nvPr>
            <p:ph type="body" sz="quarter" idx="44" hasCustomPrompt="1"/>
          </p:nvPr>
        </p:nvSpPr>
        <p:spPr>
          <a:xfrm>
            <a:off x="9123037" y="4290037"/>
            <a:ext cx="2705311" cy="180000"/>
          </a:xfrm>
        </p:spPr>
        <p:txBody>
          <a:bodyPr/>
          <a:lstStyle>
            <a:lvl1pPr marL="0" indent="0">
              <a:buNone/>
              <a:defRPr sz="1100" baseline="0">
                <a:latin typeface="+mn-lt"/>
              </a:defRPr>
            </a:lvl1pPr>
            <a:lvl2pPr marL="0" indent="0">
              <a:spcBef>
                <a:spcPts val="300"/>
              </a:spcBef>
              <a:buNone/>
              <a:defRPr sz="1100"/>
            </a:lvl2pPr>
            <a:lvl3pPr marL="0" indent="0">
              <a:buNone/>
              <a:defRPr sz="3200">
                <a:latin typeface="+mn-lt"/>
              </a:defRPr>
            </a:lvl3pPr>
            <a:lvl4pPr marL="0" indent="0">
              <a:buNone/>
              <a:defRPr sz="3200">
                <a:latin typeface="+mn-lt"/>
              </a:defRPr>
            </a:lvl4pPr>
            <a:lvl5pPr marL="177800" indent="0">
              <a:buNone/>
              <a:defRPr sz="3200">
                <a:latin typeface="+mn-lt"/>
              </a:defRPr>
            </a:lvl5pPr>
          </a:lstStyle>
          <a:p>
            <a:pPr lvl="0"/>
            <a:r>
              <a:rPr lang="en-US"/>
              <a:t>Job Title, Company</a:t>
            </a:r>
          </a:p>
        </p:txBody>
      </p:sp>
      <p:sp>
        <p:nvSpPr>
          <p:cNvPr id="36" name="Title 1">
            <a:extLst>
              <a:ext uri="{FF2B5EF4-FFF2-40B4-BE49-F238E27FC236}">
                <a16:creationId xmlns:a16="http://schemas.microsoft.com/office/drawing/2014/main" id="{C9D8454D-4B42-4517-9698-F08282F418DC}"/>
              </a:ext>
            </a:extLst>
          </p:cNvPr>
          <p:cNvSpPr>
            <a:spLocks noGrp="1"/>
          </p:cNvSpPr>
          <p:nvPr>
            <p:ph type="title" hasCustomPrompt="1"/>
          </p:nvPr>
        </p:nvSpPr>
        <p:spPr>
          <a:xfrm>
            <a:off x="360000" y="270001"/>
            <a:ext cx="11471638" cy="468000"/>
          </a:xfrm>
        </p:spPr>
        <p:txBody>
          <a:bodyPr>
            <a:noAutofit/>
          </a:bodyPr>
          <a:lstStyle>
            <a:lvl1pPr>
              <a:defRPr/>
            </a:lvl1pPr>
          </a:lstStyle>
          <a:p>
            <a:r>
              <a:rPr lang="en-US"/>
              <a:t>Add title</a:t>
            </a:r>
          </a:p>
        </p:txBody>
      </p:sp>
      <p:sp>
        <p:nvSpPr>
          <p:cNvPr id="37" name="Text Placeholder 8">
            <a:extLst>
              <a:ext uri="{FF2B5EF4-FFF2-40B4-BE49-F238E27FC236}">
                <a16:creationId xmlns:a16="http://schemas.microsoft.com/office/drawing/2014/main" id="{56EEF4CE-6E53-4B83-90D8-5B225E39A776}"/>
              </a:ext>
            </a:extLst>
          </p:cNvPr>
          <p:cNvSpPr>
            <a:spLocks noGrp="1"/>
          </p:cNvSpPr>
          <p:nvPr>
            <p:ph type="body" sz="quarter" idx="45" hasCustomPrompt="1"/>
          </p:nvPr>
        </p:nvSpPr>
        <p:spPr>
          <a:xfrm>
            <a:off x="359639" y="742950"/>
            <a:ext cx="11471999" cy="468000"/>
          </a:xfrm>
        </p:spPr>
        <p:txBody>
          <a:bodyPr>
            <a:noAutofit/>
          </a:bodyPr>
          <a:lstStyle>
            <a:lvl1pPr marL="0" indent="0">
              <a:buFont typeface="Arial" panose="020B0604020202020204" pitchFamily="34" charset="0"/>
              <a:buNone/>
              <a:tabLst/>
              <a:defRPr sz="3200">
                <a:latin typeface="+mn-lt"/>
              </a:defRPr>
            </a:lvl1pPr>
            <a:lvl2pPr marL="0" indent="0">
              <a:buFont typeface="Arial" panose="020B0604020202020204" pitchFamily="34" charset="0"/>
              <a:buNone/>
              <a:tabLst/>
              <a:defRPr sz="3200">
                <a:latin typeface="+mn-lt"/>
              </a:defRPr>
            </a:lvl2pPr>
            <a:lvl3pPr marL="0" indent="0">
              <a:buFont typeface="Arial" panose="020B0604020202020204" pitchFamily="34" charset="0"/>
              <a:buNone/>
              <a:tabLst/>
              <a:defRPr sz="3200">
                <a:latin typeface="+mn-lt"/>
              </a:defRPr>
            </a:lvl3pPr>
            <a:lvl4pPr marL="0" indent="0">
              <a:buFont typeface="Arial" panose="020B0604020202020204" pitchFamily="34" charset="0"/>
              <a:buNone/>
              <a:tabLst/>
              <a:defRPr sz="3200">
                <a:latin typeface="+mn-lt"/>
              </a:defRPr>
            </a:lvl4pPr>
            <a:lvl5pPr marL="0" indent="0">
              <a:buFont typeface="Arial" panose="020B0604020202020204" pitchFamily="34" charset="0"/>
              <a:buNone/>
              <a:tabLst/>
              <a:defRPr sz="3200">
                <a:latin typeface="+mn-lt"/>
              </a:defRPr>
            </a:lvl5pPr>
          </a:lstStyle>
          <a:p>
            <a:pPr lvl="0"/>
            <a:r>
              <a:rPr lang="en-US"/>
              <a:t>Add subtitle</a:t>
            </a:r>
          </a:p>
        </p:txBody>
      </p:sp>
      <p:cxnSp>
        <p:nvCxnSpPr>
          <p:cNvPr id="39" name="Straight Connector 38">
            <a:extLst>
              <a:ext uri="{FF2B5EF4-FFF2-40B4-BE49-F238E27FC236}">
                <a16:creationId xmlns:a16="http://schemas.microsoft.com/office/drawing/2014/main" id="{D31B07D2-7539-421E-8DFA-87C982A9F9A6}"/>
              </a:ext>
            </a:extLst>
          </p:cNvPr>
          <p:cNvCxnSpPr>
            <a:cxnSpLocks/>
          </p:cNvCxnSpPr>
          <p:nvPr userDrawn="1"/>
        </p:nvCxnSpPr>
        <p:spPr>
          <a:xfrm>
            <a:off x="358775" y="3916650"/>
            <a:ext cx="270668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BCF00363-8198-4B06-9AF1-262D568EA998}"/>
              </a:ext>
            </a:extLst>
          </p:cNvPr>
          <p:cNvCxnSpPr>
            <a:cxnSpLocks/>
          </p:cNvCxnSpPr>
          <p:nvPr userDrawn="1"/>
        </p:nvCxnSpPr>
        <p:spPr>
          <a:xfrm>
            <a:off x="3281363" y="3916650"/>
            <a:ext cx="270668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FDBDF40C-650F-4898-9269-00A4419543B7}"/>
              </a:ext>
            </a:extLst>
          </p:cNvPr>
          <p:cNvCxnSpPr>
            <a:cxnSpLocks/>
          </p:cNvCxnSpPr>
          <p:nvPr userDrawn="1"/>
        </p:nvCxnSpPr>
        <p:spPr>
          <a:xfrm>
            <a:off x="6202362" y="3916650"/>
            <a:ext cx="270668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99BF1F72-4BBD-46EF-AD1F-AB34CB1AEBE0}"/>
              </a:ext>
            </a:extLst>
          </p:cNvPr>
          <p:cNvCxnSpPr>
            <a:cxnSpLocks/>
          </p:cNvCxnSpPr>
          <p:nvPr userDrawn="1"/>
        </p:nvCxnSpPr>
        <p:spPr>
          <a:xfrm>
            <a:off x="9124950" y="3916650"/>
            <a:ext cx="270668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DC6CB9A9-E63F-44D3-83DE-6C5CA4610EDB}"/>
              </a:ext>
            </a:extLst>
          </p:cNvPr>
          <p:cNvCxnSpPr>
            <a:cxnSpLocks/>
          </p:cNvCxnSpPr>
          <p:nvPr userDrawn="1"/>
        </p:nvCxnSpPr>
        <p:spPr>
          <a:xfrm>
            <a:off x="358775" y="4621500"/>
            <a:ext cx="270668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C26FA096-86F2-4CD8-8F8E-40898485B0ED}"/>
              </a:ext>
            </a:extLst>
          </p:cNvPr>
          <p:cNvCxnSpPr>
            <a:cxnSpLocks/>
          </p:cNvCxnSpPr>
          <p:nvPr userDrawn="1"/>
        </p:nvCxnSpPr>
        <p:spPr>
          <a:xfrm>
            <a:off x="3281363" y="4621500"/>
            <a:ext cx="270668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720BE58D-ED5F-4824-88AB-64D4A5D7FDE4}"/>
              </a:ext>
            </a:extLst>
          </p:cNvPr>
          <p:cNvCxnSpPr>
            <a:cxnSpLocks/>
          </p:cNvCxnSpPr>
          <p:nvPr userDrawn="1"/>
        </p:nvCxnSpPr>
        <p:spPr>
          <a:xfrm>
            <a:off x="6202362" y="4621500"/>
            <a:ext cx="270668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F9F8E370-4DEB-4E82-8B09-75A08C2C01A2}"/>
              </a:ext>
            </a:extLst>
          </p:cNvPr>
          <p:cNvCxnSpPr>
            <a:cxnSpLocks/>
          </p:cNvCxnSpPr>
          <p:nvPr userDrawn="1"/>
        </p:nvCxnSpPr>
        <p:spPr>
          <a:xfrm>
            <a:off x="9124950" y="4621500"/>
            <a:ext cx="270668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49191949"/>
      </p:ext>
    </p:extLst>
  </p:cSld>
  <p:clrMapOvr>
    <a:masterClrMapping/>
  </p:clrMapOvr>
  <p:extLst>
    <p:ext uri="{DCECCB84-F9BA-43D5-87BE-67443E8EF086}">
      <p15:sldGuideLst xmlns:p15="http://schemas.microsoft.com/office/powerpoint/2012/main">
        <p15:guide id="1" orient="horz" pos="170" userDrawn="1">
          <p15:clr>
            <a:srgbClr val="717275"/>
          </p15:clr>
        </p15:guide>
        <p15:guide id="2" orient="horz" pos="762" userDrawn="1">
          <p15:clr>
            <a:srgbClr val="717275"/>
          </p15:clr>
        </p15:guide>
        <p15:guide id="3" orient="horz" pos="1133" userDrawn="1">
          <p15:clr>
            <a:srgbClr val="FF96FF"/>
          </p15:clr>
        </p15:guide>
        <p15:guide id="4" orient="horz" pos="3753" userDrawn="1">
          <p15:clr>
            <a:srgbClr val="FF96FF"/>
          </p15:clr>
        </p15:guide>
        <p15:guide id="5" pos="226" userDrawn="1">
          <p15:clr>
            <a:srgbClr val="FF96FF"/>
          </p15:clr>
        </p15:guide>
        <p15:guide id="6" pos="1931" userDrawn="1">
          <p15:clr>
            <a:srgbClr val="FF96FF"/>
          </p15:clr>
        </p15:guide>
        <p15:guide id="7" pos="2067" userDrawn="1">
          <p15:clr>
            <a:srgbClr val="FF96FF"/>
          </p15:clr>
        </p15:guide>
        <p15:guide id="8" pos="3771" userDrawn="1">
          <p15:clr>
            <a:srgbClr val="FF96FF"/>
          </p15:clr>
        </p15:guide>
        <p15:guide id="9" pos="3908" userDrawn="1">
          <p15:clr>
            <a:srgbClr val="FF96FF"/>
          </p15:clr>
        </p15:guide>
        <p15:guide id="10" pos="5612" userDrawn="1">
          <p15:clr>
            <a:srgbClr val="FF96FF"/>
          </p15:clr>
        </p15:guide>
        <p15:guide id="11" pos="5748" userDrawn="1">
          <p15:clr>
            <a:srgbClr val="FF96FF"/>
          </p15:clr>
        </p15:guide>
        <p15:guide id="12" pos="7453" userDrawn="1">
          <p15:clr>
            <a:srgbClr val="FF96FF"/>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28B18E97-E055-4F98-9C60-8B7FFD3F8693}"/>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879888B2-7164-4B4B-ABC7-B80668DB291E}"/>
              </a:ext>
            </a:extLst>
          </p:cNvPr>
          <p:cNvSpPr>
            <a:spLocks noGrp="1"/>
          </p:cNvSpPr>
          <p:nvPr>
            <p:ph type="sldNum" sz="quarter" idx="12"/>
          </p:nvPr>
        </p:nvSpPr>
        <p:spPr/>
        <p:txBody>
          <a:bodyPr/>
          <a:lstStyle/>
          <a:p>
            <a:fld id="{9E2BE927-25C7-4379-86F1-C17ED9D2A7F2}" type="slidenum">
              <a:rPr lang="en-US" smtClean="0"/>
              <a:pPr/>
              <a:t>‹#›</a:t>
            </a:fld>
            <a:endParaRPr lang="en-US"/>
          </a:p>
        </p:txBody>
      </p:sp>
      <p:sp>
        <p:nvSpPr>
          <p:cNvPr id="7" name="Text Placeholder 6">
            <a:extLst>
              <a:ext uri="{FF2B5EF4-FFF2-40B4-BE49-F238E27FC236}">
                <a16:creationId xmlns:a16="http://schemas.microsoft.com/office/drawing/2014/main" id="{700D726E-A1E6-4FF7-A8A0-FE82BDFA85CA}"/>
              </a:ext>
            </a:extLst>
          </p:cNvPr>
          <p:cNvSpPr>
            <a:spLocks noGrp="1"/>
          </p:cNvSpPr>
          <p:nvPr>
            <p:ph type="body" sz="quarter" idx="13" hasCustomPrompt="1"/>
          </p:nvPr>
        </p:nvSpPr>
        <p:spPr>
          <a:xfrm>
            <a:off x="2306638" y="1450975"/>
            <a:ext cx="7577137" cy="2497138"/>
          </a:xfrm>
        </p:spPr>
        <p:txBody>
          <a:bodyPr/>
          <a:lstStyle>
            <a:lvl1pPr marL="0" indent="0" algn="ctr">
              <a:buNone/>
              <a:defRPr sz="4800"/>
            </a:lvl1pPr>
            <a:lvl2pPr marL="0" indent="0" algn="ctr">
              <a:buNone/>
              <a:defRPr sz="3200">
                <a:latin typeface="+mj-lt"/>
              </a:defRPr>
            </a:lvl2pPr>
            <a:lvl3pPr marL="0" indent="0" algn="ctr">
              <a:buNone/>
              <a:defRPr sz="2400">
                <a:latin typeface="+mj-lt"/>
              </a:defRPr>
            </a:lvl3pPr>
            <a:lvl4pPr marL="0" indent="0" algn="ctr">
              <a:buNone/>
              <a:defRPr sz="2000">
                <a:latin typeface="+mj-lt"/>
              </a:defRPr>
            </a:lvl4pPr>
            <a:lvl5pPr marL="0" indent="0" algn="ctr">
              <a:buNone/>
              <a:defRPr>
                <a:latin typeface="+mj-lt"/>
              </a:defRPr>
            </a:lvl5pPr>
          </a:lstStyle>
          <a:p>
            <a:pPr lvl="0"/>
            <a:r>
              <a:rPr lang="en-US"/>
              <a:t>Add Quote</a:t>
            </a:r>
          </a:p>
        </p:txBody>
      </p:sp>
      <p:sp>
        <p:nvSpPr>
          <p:cNvPr id="8" name="Guides" hidden="1">
            <a:extLst>
              <a:ext uri="{FF2B5EF4-FFF2-40B4-BE49-F238E27FC236}">
                <a16:creationId xmlns:a16="http://schemas.microsoft.com/office/drawing/2014/main" id="{24862E2E-D3BD-4369-A62D-BC73AC800144}"/>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10" name="Text Placeholder 16">
            <a:extLst>
              <a:ext uri="{FF2B5EF4-FFF2-40B4-BE49-F238E27FC236}">
                <a16:creationId xmlns:a16="http://schemas.microsoft.com/office/drawing/2014/main" id="{82117A63-744C-4E06-9EAE-597754759527}"/>
              </a:ext>
            </a:extLst>
          </p:cNvPr>
          <p:cNvSpPr>
            <a:spLocks noGrp="1"/>
          </p:cNvSpPr>
          <p:nvPr>
            <p:ph type="body" sz="quarter" idx="17" hasCustomPrompt="1"/>
          </p:nvPr>
        </p:nvSpPr>
        <p:spPr>
          <a:xfrm>
            <a:off x="4256000" y="4619567"/>
            <a:ext cx="3679999" cy="1331120"/>
          </a:xfrm>
        </p:spPr>
        <p:txBody>
          <a:bodyPr/>
          <a:lstStyle>
            <a:lvl1pPr marL="0" indent="0" algn="ctr">
              <a:buFont typeface="Arial" panose="020B0604020202020204" pitchFamily="34" charset="0"/>
              <a:buNone/>
              <a:defRPr sz="1000">
                <a:latin typeface="+mj-lt"/>
              </a:defRPr>
            </a:lvl1pPr>
            <a:lvl2pPr marL="0" indent="0" algn="ctr">
              <a:buFont typeface="Arial" panose="020B0604020202020204" pitchFamily="34" charset="0"/>
              <a:buNone/>
              <a:defRPr sz="1000">
                <a:latin typeface="+mj-lt"/>
              </a:defRPr>
            </a:lvl2pPr>
            <a:lvl3pPr marL="0" indent="0" algn="ctr">
              <a:buFont typeface="Arial" panose="020B0604020202020204" pitchFamily="34" charset="0"/>
              <a:buNone/>
              <a:defRPr sz="1000">
                <a:latin typeface="+mj-lt"/>
              </a:defRPr>
            </a:lvl3pPr>
            <a:lvl4pPr marL="0" indent="0" algn="ctr">
              <a:buFont typeface="Arial" panose="020B0604020202020204" pitchFamily="34" charset="0"/>
              <a:buNone/>
              <a:defRPr sz="1000">
                <a:latin typeface="+mj-lt"/>
              </a:defRPr>
            </a:lvl4pPr>
            <a:lvl5pPr marL="0" indent="0" algn="ctr">
              <a:buFont typeface="Arial" panose="020B0604020202020204" pitchFamily="34" charset="0"/>
              <a:buNone/>
              <a:defRPr sz="1000">
                <a:latin typeface="+mj-lt"/>
              </a:defRPr>
            </a:lvl5pPr>
          </a:lstStyle>
          <a:p>
            <a:pPr lvl="0"/>
            <a:r>
              <a:rPr lang="en-US"/>
              <a:t>Add Source</a:t>
            </a:r>
          </a:p>
          <a:p>
            <a:pPr lvl="1"/>
            <a:endParaRPr lang="en-US"/>
          </a:p>
        </p:txBody>
      </p:sp>
      <p:cxnSp>
        <p:nvCxnSpPr>
          <p:cNvPr id="12" name="Straight Connector 11">
            <a:extLst>
              <a:ext uri="{FF2B5EF4-FFF2-40B4-BE49-F238E27FC236}">
                <a16:creationId xmlns:a16="http://schemas.microsoft.com/office/drawing/2014/main" id="{9813EA91-65AB-4D32-8B12-19D2BEE96493}"/>
              </a:ext>
            </a:extLst>
          </p:cNvPr>
          <p:cNvCxnSpPr>
            <a:cxnSpLocks/>
          </p:cNvCxnSpPr>
          <p:nvPr userDrawn="1"/>
        </p:nvCxnSpPr>
        <p:spPr>
          <a:xfrm>
            <a:off x="4256000" y="4326675"/>
            <a:ext cx="3679999"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31977442"/>
      </p:ext>
    </p:extLst>
  </p:cSld>
  <p:clrMapOvr>
    <a:masterClrMapping/>
  </p:clrMapOvr>
  <p:extLst>
    <p:ext uri="{DCECCB84-F9BA-43D5-87BE-67443E8EF086}">
      <p15:sldGuideLst xmlns:p15="http://schemas.microsoft.com/office/powerpoint/2012/main">
        <p15:guide id="1" orient="horz" pos="170" userDrawn="1">
          <p15:clr>
            <a:srgbClr val="717275"/>
          </p15:clr>
        </p15:guide>
        <p15:guide id="2" orient="horz" pos="762" userDrawn="1">
          <p15:clr>
            <a:srgbClr val="717275"/>
          </p15:clr>
        </p15:guide>
        <p15:guide id="3" orient="horz" pos="1133" userDrawn="1">
          <p15:clr>
            <a:srgbClr val="FF96FF"/>
          </p15:clr>
        </p15:guide>
        <p15:guide id="4" orient="horz" pos="3753" userDrawn="1">
          <p15:clr>
            <a:srgbClr val="FF96FF"/>
          </p15:clr>
        </p15:guide>
        <p15:guide id="5" pos="226" userDrawn="1">
          <p15:clr>
            <a:srgbClr val="FF96FF"/>
          </p15:clr>
        </p15:guide>
        <p15:guide id="6" pos="1317" userDrawn="1">
          <p15:clr>
            <a:srgbClr val="FF96FF"/>
          </p15:clr>
        </p15:guide>
        <p15:guide id="7" pos="1453" userDrawn="1">
          <p15:clr>
            <a:srgbClr val="FF96FF"/>
          </p15:clr>
        </p15:guide>
        <p15:guide id="8" pos="2544" userDrawn="1">
          <p15:clr>
            <a:srgbClr val="FF96FF"/>
          </p15:clr>
        </p15:guide>
        <p15:guide id="9" pos="2680" userDrawn="1">
          <p15:clr>
            <a:srgbClr val="FF96FF"/>
          </p15:clr>
        </p15:guide>
        <p15:guide id="10" pos="3771" userDrawn="1">
          <p15:clr>
            <a:srgbClr val="FF96FF"/>
          </p15:clr>
        </p15:guide>
        <p15:guide id="11" pos="3908" userDrawn="1">
          <p15:clr>
            <a:srgbClr val="FF96FF"/>
          </p15:clr>
        </p15:guide>
        <p15:guide id="12" pos="4999" userDrawn="1">
          <p15:clr>
            <a:srgbClr val="FF96FF"/>
          </p15:clr>
        </p15:guide>
        <p15:guide id="13" pos="5135" userDrawn="1">
          <p15:clr>
            <a:srgbClr val="FF96FF"/>
          </p15:clr>
        </p15:guide>
        <p15:guide id="14" pos="6226" userDrawn="1">
          <p15:clr>
            <a:srgbClr val="FF96FF"/>
          </p15:clr>
        </p15:guide>
        <p15:guide id="15" pos="6362" userDrawn="1">
          <p15:clr>
            <a:srgbClr val="FF96FF"/>
          </p15:clr>
        </p15:guide>
        <p15:guide id="16" pos="7453" userDrawn="1">
          <p15:clr>
            <a:srgbClr val="FF96FF"/>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4">
    <p:bg>
      <p:bgPr>
        <a:solidFill>
          <a:schemeClr val="bg1"/>
        </a:solidFill>
        <a:effectLst/>
      </p:bgPr>
    </p:bg>
    <p:spTree>
      <p:nvGrpSpPr>
        <p:cNvPr id="1" name=""/>
        <p:cNvGrpSpPr/>
        <p:nvPr/>
      </p:nvGrpSpPr>
      <p:grpSpPr>
        <a:xfrm>
          <a:off x="0" y="0"/>
          <a:ext cx="0" cy="0"/>
          <a:chOff x="0" y="0"/>
          <a:chExt cx="0" cy="0"/>
        </a:xfrm>
      </p:grpSpPr>
      <p:pic>
        <p:nvPicPr>
          <p:cNvPr id="8" name="Graphic 7">
            <a:extLst>
              <a:ext uri="{FF2B5EF4-FFF2-40B4-BE49-F238E27FC236}">
                <a16:creationId xmlns:a16="http://schemas.microsoft.com/office/drawing/2014/main" id="{7DBFF792-994D-4763-9021-2FEF7589E6D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0" y="597"/>
            <a:ext cx="12192000" cy="6856806"/>
          </a:xfrm>
          <a:prstGeom prst="rect">
            <a:avLst/>
          </a:prstGeom>
        </p:spPr>
      </p:pic>
      <p:sp>
        <p:nvSpPr>
          <p:cNvPr id="2" name="Title 1">
            <a:extLst>
              <a:ext uri="{FF2B5EF4-FFF2-40B4-BE49-F238E27FC236}">
                <a16:creationId xmlns:a16="http://schemas.microsoft.com/office/drawing/2014/main" id="{DE5BBB5A-E909-4B98-99CC-B3F2B12EF9E8}"/>
              </a:ext>
            </a:extLst>
          </p:cNvPr>
          <p:cNvSpPr>
            <a:spLocks noGrp="1"/>
          </p:cNvSpPr>
          <p:nvPr>
            <p:ph type="ctrTitle" hasCustomPrompt="1"/>
          </p:nvPr>
        </p:nvSpPr>
        <p:spPr>
          <a:xfrm>
            <a:off x="358774" y="1798637"/>
            <a:ext cx="6147904" cy="2173288"/>
          </a:xfrm>
        </p:spPr>
        <p:txBody>
          <a:bodyPr anchor="ctr" anchorCtr="0">
            <a:noAutofit/>
          </a:bodyPr>
          <a:lstStyle>
            <a:lvl1pPr algn="l">
              <a:defRPr sz="4800"/>
            </a:lvl1pPr>
          </a:lstStyle>
          <a:p>
            <a:r>
              <a:rPr lang="en-US"/>
              <a:t>Add title</a:t>
            </a:r>
          </a:p>
        </p:txBody>
      </p:sp>
      <p:sp>
        <p:nvSpPr>
          <p:cNvPr id="7" name="Guides" hidden="1">
            <a:extLst>
              <a:ext uri="{FF2B5EF4-FFF2-40B4-BE49-F238E27FC236}">
                <a16:creationId xmlns:a16="http://schemas.microsoft.com/office/drawing/2014/main" id="{25E35409-37AF-410A-BB15-B1EDB639D7DA}"/>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11" name="Text Placeholder 4">
            <a:extLst>
              <a:ext uri="{FF2B5EF4-FFF2-40B4-BE49-F238E27FC236}">
                <a16:creationId xmlns:a16="http://schemas.microsoft.com/office/drawing/2014/main" id="{F998D014-E3E3-471F-8933-C27D84BED96D}"/>
              </a:ext>
            </a:extLst>
          </p:cNvPr>
          <p:cNvSpPr>
            <a:spLocks noGrp="1"/>
          </p:cNvSpPr>
          <p:nvPr>
            <p:ph type="body" sz="quarter" idx="11" hasCustomPrompt="1"/>
          </p:nvPr>
        </p:nvSpPr>
        <p:spPr>
          <a:xfrm>
            <a:off x="358775" y="4392000"/>
            <a:ext cx="6147903" cy="1620000"/>
          </a:xfrm>
        </p:spPr>
        <p:txBody>
          <a:bodyPr/>
          <a:lstStyle>
            <a:lvl1pPr marL="0" indent="0">
              <a:buNone/>
              <a:defRPr sz="4800">
                <a:latin typeface="+mn-lt"/>
              </a:defRPr>
            </a:lvl1pPr>
            <a:lvl2pPr marL="0" indent="0">
              <a:buNone/>
              <a:defRPr sz="4800">
                <a:latin typeface="+mn-lt"/>
              </a:defRPr>
            </a:lvl2pPr>
            <a:lvl3pPr marL="0" indent="0">
              <a:buNone/>
              <a:defRPr sz="4800">
                <a:latin typeface="+mn-lt"/>
              </a:defRPr>
            </a:lvl3pPr>
            <a:lvl4pPr marL="0" indent="0">
              <a:buNone/>
              <a:defRPr sz="4800">
                <a:latin typeface="+mn-lt"/>
              </a:defRPr>
            </a:lvl4pPr>
            <a:lvl5pPr marL="0" indent="0">
              <a:buNone/>
              <a:defRPr sz="4800">
                <a:latin typeface="+mn-lt"/>
              </a:defRPr>
            </a:lvl5pPr>
            <a:lvl6pPr marL="0" indent="0">
              <a:buNone/>
              <a:defRPr sz="4800"/>
            </a:lvl6pPr>
          </a:lstStyle>
          <a:p>
            <a:pPr lvl="0"/>
            <a:r>
              <a:rPr lang="en-US"/>
              <a:t>Add subtitle or date</a:t>
            </a:r>
          </a:p>
        </p:txBody>
      </p:sp>
      <p:pic>
        <p:nvPicPr>
          <p:cNvPr id="1914175088" name="image" descr="{&quot;templafy&quot;:{&quot;id&quot;:&quot;69fe0496-3efe-4dda-9bb1-2129d28060f4&quot;}}"/>
          <p:cNvPicPr>
            <a:picLocks noChangeAspect="1"/>
          </p:cNvPicPr>
          <p:nvPr/>
        </p:nvPicPr>
        <p:blipFill>
          <a:blip r:embed="rId5"/>
          <a:stretch>
            <a:fillRect/>
          </a:stretch>
        </p:blipFill>
        <p:spPr>
          <a:xfrm>
            <a:off x="358774" y="269875"/>
            <a:ext cx="2253600" cy="290941"/>
          </a:xfrm>
          <a:prstGeom prst="rect">
            <a:avLst/>
          </a:prstGeom>
        </p:spPr>
      </p:pic>
      <p:pic>
        <p:nvPicPr>
          <p:cNvPr id="4" name="Picture 3" hidden="1">
            <a:extLst>
              <a:ext uri="{FF2B5EF4-FFF2-40B4-BE49-F238E27FC236}">
                <a16:creationId xmlns:a16="http://schemas.microsoft.com/office/drawing/2014/main" id="{06302278-457F-43C7-8AD0-E4673036B616}"/>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358774" y="431875"/>
            <a:ext cx="4740492" cy="612000"/>
          </a:xfrm>
          <a:prstGeom prst="rect">
            <a:avLst/>
          </a:prstGeom>
        </p:spPr>
      </p:pic>
    </p:spTree>
    <p:extLst>
      <p:ext uri="{BB962C8B-B14F-4D97-AF65-F5344CB8AC3E}">
        <p14:creationId xmlns:p14="http://schemas.microsoft.com/office/powerpoint/2010/main" val="3855129683"/>
      </p:ext>
    </p:extLst>
  </p:cSld>
  <p:clrMapOvr>
    <a:masterClrMapping/>
  </p:clrMapOvr>
  <p:extLst>
    <p:ext uri="{DCECCB84-F9BA-43D5-87BE-67443E8EF086}">
      <p15:sldGuideLst xmlns:p15="http://schemas.microsoft.com/office/powerpoint/2012/main">
        <p15:guide id="1" orient="horz" pos="170" userDrawn="1">
          <p15:clr>
            <a:srgbClr val="717275"/>
          </p15:clr>
        </p15:guide>
        <p15:guide id="2" orient="horz" pos="762" userDrawn="1">
          <p15:clr>
            <a:srgbClr val="717275"/>
          </p15:clr>
        </p15:guide>
        <p15:guide id="3" orient="horz" pos="1133" userDrawn="1">
          <p15:clr>
            <a:srgbClr val="FF96FF"/>
          </p15:clr>
        </p15:guide>
        <p15:guide id="4" orient="horz" pos="3753" userDrawn="1">
          <p15:clr>
            <a:srgbClr val="FF96FF"/>
          </p15:clr>
        </p15:guide>
        <p15:guide id="5" pos="226" userDrawn="1">
          <p15:clr>
            <a:srgbClr val="FF96FF"/>
          </p15:clr>
        </p15:guide>
        <p15:guide id="6" pos="2544" userDrawn="1">
          <p15:clr>
            <a:srgbClr val="FF96FF"/>
          </p15:clr>
        </p15:guide>
        <p15:guide id="7" pos="2680" userDrawn="1">
          <p15:clr>
            <a:srgbClr val="FF96FF"/>
          </p15:clr>
        </p15:guide>
        <p15:guide id="8" pos="4999" userDrawn="1">
          <p15:clr>
            <a:srgbClr val="FF96FF"/>
          </p15:clr>
        </p15:guide>
        <p15:guide id="9" pos="5135" userDrawn="1">
          <p15:clr>
            <a:srgbClr val="FF96FF"/>
          </p15:clr>
        </p15:guide>
        <p15:guide id="10" pos="7453" userDrawn="1">
          <p15:clr>
            <a:srgbClr val="FF96FF"/>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Quote Light">
    <p:bg>
      <p:bgPr>
        <a:solidFill>
          <a:schemeClr val="bg1"/>
        </a:solidFill>
        <a:effectLst/>
      </p:bgPr>
    </p:bg>
    <p:spTree>
      <p:nvGrpSpPr>
        <p:cNvPr id="1" name=""/>
        <p:cNvGrpSpPr/>
        <p:nvPr/>
      </p:nvGrpSpPr>
      <p:grpSpPr>
        <a:xfrm>
          <a:off x="0" y="0"/>
          <a:ext cx="0" cy="0"/>
          <a:chOff x="0" y="0"/>
          <a:chExt cx="0" cy="0"/>
        </a:xfrm>
      </p:grpSpPr>
      <p:pic>
        <p:nvPicPr>
          <p:cNvPr id="16" name="Graphic 15">
            <a:extLst>
              <a:ext uri="{FF2B5EF4-FFF2-40B4-BE49-F238E27FC236}">
                <a16:creationId xmlns:a16="http://schemas.microsoft.com/office/drawing/2014/main" id="{C4065C1A-9875-427F-A08A-6281CACC8CD8}"/>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76200" y="34890"/>
            <a:ext cx="12049125" cy="6788220"/>
          </a:xfrm>
          <a:prstGeom prst="rect">
            <a:avLst/>
          </a:prstGeom>
        </p:spPr>
      </p:pic>
      <p:sp>
        <p:nvSpPr>
          <p:cNvPr id="5" name="Slide Number Placeholder 4">
            <a:extLst>
              <a:ext uri="{FF2B5EF4-FFF2-40B4-BE49-F238E27FC236}">
                <a16:creationId xmlns:a16="http://schemas.microsoft.com/office/drawing/2014/main" id="{879888B2-7164-4B4B-ABC7-B80668DB291E}"/>
              </a:ext>
            </a:extLst>
          </p:cNvPr>
          <p:cNvSpPr>
            <a:spLocks noGrp="1"/>
          </p:cNvSpPr>
          <p:nvPr>
            <p:ph type="sldNum" sz="quarter" idx="12"/>
          </p:nvPr>
        </p:nvSpPr>
        <p:spPr/>
        <p:txBody>
          <a:bodyPr/>
          <a:lstStyle/>
          <a:p>
            <a:fld id="{9E2BE927-25C7-4379-86F1-C17ED9D2A7F2}" type="slidenum">
              <a:rPr lang="en-US" smtClean="0"/>
              <a:pPr/>
              <a:t>‹#›</a:t>
            </a:fld>
            <a:endParaRPr lang="en-US"/>
          </a:p>
        </p:txBody>
      </p:sp>
      <p:sp>
        <p:nvSpPr>
          <p:cNvPr id="7" name="Text Placeholder 6">
            <a:extLst>
              <a:ext uri="{FF2B5EF4-FFF2-40B4-BE49-F238E27FC236}">
                <a16:creationId xmlns:a16="http://schemas.microsoft.com/office/drawing/2014/main" id="{700D726E-A1E6-4FF7-A8A0-FE82BDFA85CA}"/>
              </a:ext>
            </a:extLst>
          </p:cNvPr>
          <p:cNvSpPr>
            <a:spLocks noGrp="1"/>
          </p:cNvSpPr>
          <p:nvPr>
            <p:ph type="body" sz="quarter" idx="13" hasCustomPrompt="1"/>
          </p:nvPr>
        </p:nvSpPr>
        <p:spPr>
          <a:xfrm>
            <a:off x="2306638" y="1450975"/>
            <a:ext cx="7577137" cy="2497138"/>
          </a:xfrm>
        </p:spPr>
        <p:txBody>
          <a:bodyPr/>
          <a:lstStyle>
            <a:lvl1pPr marL="0" indent="0" algn="ctr">
              <a:buNone/>
              <a:defRPr sz="4800"/>
            </a:lvl1pPr>
            <a:lvl2pPr marL="0" indent="0" algn="ctr">
              <a:buNone/>
              <a:defRPr sz="3200">
                <a:latin typeface="+mj-lt"/>
              </a:defRPr>
            </a:lvl2pPr>
            <a:lvl3pPr marL="0" indent="0" algn="ctr">
              <a:buNone/>
              <a:defRPr sz="2400">
                <a:latin typeface="+mj-lt"/>
              </a:defRPr>
            </a:lvl3pPr>
            <a:lvl4pPr marL="0" indent="0" algn="ctr">
              <a:buNone/>
              <a:defRPr sz="2000">
                <a:latin typeface="+mj-lt"/>
              </a:defRPr>
            </a:lvl4pPr>
            <a:lvl5pPr marL="0" indent="0" algn="ctr">
              <a:buNone/>
              <a:defRPr>
                <a:latin typeface="+mj-lt"/>
              </a:defRPr>
            </a:lvl5pPr>
          </a:lstStyle>
          <a:p>
            <a:pPr lvl="0"/>
            <a:r>
              <a:rPr lang="en-US"/>
              <a:t>Add Quote</a:t>
            </a:r>
          </a:p>
        </p:txBody>
      </p:sp>
      <p:sp>
        <p:nvSpPr>
          <p:cNvPr id="8" name="Guides" hidden="1">
            <a:extLst>
              <a:ext uri="{FF2B5EF4-FFF2-40B4-BE49-F238E27FC236}">
                <a16:creationId xmlns:a16="http://schemas.microsoft.com/office/drawing/2014/main" id="{24862E2E-D3BD-4369-A62D-BC73AC800144}"/>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10" name="Text Placeholder 16">
            <a:extLst>
              <a:ext uri="{FF2B5EF4-FFF2-40B4-BE49-F238E27FC236}">
                <a16:creationId xmlns:a16="http://schemas.microsoft.com/office/drawing/2014/main" id="{82117A63-744C-4E06-9EAE-597754759527}"/>
              </a:ext>
            </a:extLst>
          </p:cNvPr>
          <p:cNvSpPr>
            <a:spLocks noGrp="1"/>
          </p:cNvSpPr>
          <p:nvPr>
            <p:ph type="body" sz="quarter" idx="17" hasCustomPrompt="1"/>
          </p:nvPr>
        </p:nvSpPr>
        <p:spPr>
          <a:xfrm>
            <a:off x="4256000" y="4619567"/>
            <a:ext cx="3679999" cy="1331120"/>
          </a:xfrm>
        </p:spPr>
        <p:txBody>
          <a:bodyPr/>
          <a:lstStyle>
            <a:lvl1pPr marL="0" indent="0" algn="ctr">
              <a:buFont typeface="Arial" panose="020B0604020202020204" pitchFamily="34" charset="0"/>
              <a:buNone/>
              <a:defRPr sz="1000">
                <a:latin typeface="+mj-lt"/>
              </a:defRPr>
            </a:lvl1pPr>
            <a:lvl2pPr marL="0" indent="0" algn="ctr">
              <a:buFont typeface="Arial" panose="020B0604020202020204" pitchFamily="34" charset="0"/>
              <a:buNone/>
              <a:defRPr sz="1000">
                <a:latin typeface="+mj-lt"/>
              </a:defRPr>
            </a:lvl2pPr>
            <a:lvl3pPr marL="0" indent="0" algn="ctr">
              <a:buFont typeface="Arial" panose="020B0604020202020204" pitchFamily="34" charset="0"/>
              <a:buNone/>
              <a:defRPr sz="1000">
                <a:latin typeface="+mj-lt"/>
              </a:defRPr>
            </a:lvl3pPr>
            <a:lvl4pPr marL="0" indent="0" algn="ctr">
              <a:buFont typeface="Arial" panose="020B0604020202020204" pitchFamily="34" charset="0"/>
              <a:buNone/>
              <a:defRPr sz="1000">
                <a:latin typeface="+mj-lt"/>
              </a:defRPr>
            </a:lvl4pPr>
            <a:lvl5pPr marL="0" indent="0" algn="ctr">
              <a:buFont typeface="Arial" panose="020B0604020202020204" pitchFamily="34" charset="0"/>
              <a:buNone/>
              <a:defRPr sz="1000">
                <a:latin typeface="+mj-lt"/>
              </a:defRPr>
            </a:lvl5pPr>
          </a:lstStyle>
          <a:p>
            <a:pPr lvl="0"/>
            <a:r>
              <a:rPr lang="en-US"/>
              <a:t>Add Source</a:t>
            </a:r>
          </a:p>
          <a:p>
            <a:pPr lvl="1"/>
            <a:endParaRPr lang="en-US"/>
          </a:p>
        </p:txBody>
      </p:sp>
      <p:cxnSp>
        <p:nvCxnSpPr>
          <p:cNvPr id="17" name="Straight Connector 16">
            <a:extLst>
              <a:ext uri="{FF2B5EF4-FFF2-40B4-BE49-F238E27FC236}">
                <a16:creationId xmlns:a16="http://schemas.microsoft.com/office/drawing/2014/main" id="{F7A59D94-1A4B-4ADA-9DA1-168B73BC0C09}"/>
              </a:ext>
            </a:extLst>
          </p:cNvPr>
          <p:cNvCxnSpPr>
            <a:cxnSpLocks/>
          </p:cNvCxnSpPr>
          <p:nvPr userDrawn="1"/>
        </p:nvCxnSpPr>
        <p:spPr>
          <a:xfrm>
            <a:off x="4256000" y="4326675"/>
            <a:ext cx="3679999"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86090946"/>
      </p:ext>
    </p:extLst>
  </p:cSld>
  <p:clrMapOvr>
    <a:masterClrMapping/>
  </p:clrMapOvr>
  <p:extLst>
    <p:ext uri="{DCECCB84-F9BA-43D5-87BE-67443E8EF086}">
      <p15:sldGuideLst xmlns:p15="http://schemas.microsoft.com/office/powerpoint/2012/main">
        <p15:guide id="1" orient="horz" pos="170" userDrawn="1">
          <p15:clr>
            <a:srgbClr val="717275"/>
          </p15:clr>
        </p15:guide>
        <p15:guide id="2" orient="horz" pos="762" userDrawn="1">
          <p15:clr>
            <a:srgbClr val="717275"/>
          </p15:clr>
        </p15:guide>
        <p15:guide id="3" orient="horz" pos="1133" userDrawn="1">
          <p15:clr>
            <a:srgbClr val="FF96FF"/>
          </p15:clr>
        </p15:guide>
        <p15:guide id="4" orient="horz" pos="3753" userDrawn="1">
          <p15:clr>
            <a:srgbClr val="FF96FF"/>
          </p15:clr>
        </p15:guide>
        <p15:guide id="5" pos="226" userDrawn="1">
          <p15:clr>
            <a:srgbClr val="FF96FF"/>
          </p15:clr>
        </p15:guide>
        <p15:guide id="6" pos="1317" userDrawn="1">
          <p15:clr>
            <a:srgbClr val="FF96FF"/>
          </p15:clr>
        </p15:guide>
        <p15:guide id="7" pos="1453" userDrawn="1">
          <p15:clr>
            <a:srgbClr val="FF96FF"/>
          </p15:clr>
        </p15:guide>
        <p15:guide id="8" pos="2544" userDrawn="1">
          <p15:clr>
            <a:srgbClr val="FF96FF"/>
          </p15:clr>
        </p15:guide>
        <p15:guide id="9" pos="2680" userDrawn="1">
          <p15:clr>
            <a:srgbClr val="FF96FF"/>
          </p15:clr>
        </p15:guide>
        <p15:guide id="10" pos="3771" userDrawn="1">
          <p15:clr>
            <a:srgbClr val="FF96FF"/>
          </p15:clr>
        </p15:guide>
        <p15:guide id="11" pos="3908" userDrawn="1">
          <p15:clr>
            <a:srgbClr val="FF96FF"/>
          </p15:clr>
        </p15:guide>
        <p15:guide id="12" pos="4999" userDrawn="1">
          <p15:clr>
            <a:srgbClr val="FF96FF"/>
          </p15:clr>
        </p15:guide>
        <p15:guide id="13" pos="5135" userDrawn="1">
          <p15:clr>
            <a:srgbClr val="FF96FF"/>
          </p15:clr>
        </p15:guide>
        <p15:guide id="14" pos="6226" userDrawn="1">
          <p15:clr>
            <a:srgbClr val="FF96FF"/>
          </p15:clr>
        </p15:guide>
        <p15:guide id="15" pos="6362" userDrawn="1">
          <p15:clr>
            <a:srgbClr val="FF96FF"/>
          </p15:clr>
        </p15:guide>
        <p15:guide id="16" pos="7453" userDrawn="1">
          <p15:clr>
            <a:srgbClr val="FF96FF"/>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Quote Light">
    <p:bg>
      <p:bgPr>
        <a:solidFill>
          <a:schemeClr val="bg1"/>
        </a:solidFill>
        <a:effectLst/>
      </p:bgPr>
    </p:bg>
    <p:spTree>
      <p:nvGrpSpPr>
        <p:cNvPr id="1" name=""/>
        <p:cNvGrpSpPr/>
        <p:nvPr/>
      </p:nvGrpSpPr>
      <p:grpSpPr>
        <a:xfrm>
          <a:off x="0" y="0"/>
          <a:ext cx="0" cy="0"/>
          <a:chOff x="0" y="0"/>
          <a:chExt cx="0" cy="0"/>
        </a:xfrm>
      </p:grpSpPr>
      <p:pic>
        <p:nvPicPr>
          <p:cNvPr id="16" name="Graphic 15">
            <a:extLst>
              <a:ext uri="{FF2B5EF4-FFF2-40B4-BE49-F238E27FC236}">
                <a16:creationId xmlns:a16="http://schemas.microsoft.com/office/drawing/2014/main" id="{C4065C1A-9875-427F-A08A-6281CACC8CD8}"/>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76200" y="34890"/>
            <a:ext cx="12049125" cy="6788220"/>
          </a:xfrm>
          <a:prstGeom prst="rect">
            <a:avLst/>
          </a:prstGeom>
        </p:spPr>
      </p:pic>
      <p:sp>
        <p:nvSpPr>
          <p:cNvPr id="5" name="Slide Number Placeholder 4">
            <a:extLst>
              <a:ext uri="{FF2B5EF4-FFF2-40B4-BE49-F238E27FC236}">
                <a16:creationId xmlns:a16="http://schemas.microsoft.com/office/drawing/2014/main" id="{879888B2-7164-4B4B-ABC7-B80668DB291E}"/>
              </a:ext>
            </a:extLst>
          </p:cNvPr>
          <p:cNvSpPr>
            <a:spLocks noGrp="1"/>
          </p:cNvSpPr>
          <p:nvPr>
            <p:ph type="sldNum" sz="quarter" idx="12"/>
          </p:nvPr>
        </p:nvSpPr>
        <p:spPr/>
        <p:txBody>
          <a:bodyPr/>
          <a:lstStyle/>
          <a:p>
            <a:fld id="{9E2BE927-25C7-4379-86F1-C17ED9D2A7F2}" type="slidenum">
              <a:rPr lang="en-US" smtClean="0"/>
              <a:pPr/>
              <a:t>‹#›</a:t>
            </a:fld>
            <a:endParaRPr lang="en-US"/>
          </a:p>
        </p:txBody>
      </p:sp>
      <p:sp>
        <p:nvSpPr>
          <p:cNvPr id="7" name="Text Placeholder 6">
            <a:extLst>
              <a:ext uri="{FF2B5EF4-FFF2-40B4-BE49-F238E27FC236}">
                <a16:creationId xmlns:a16="http://schemas.microsoft.com/office/drawing/2014/main" id="{700D726E-A1E6-4FF7-A8A0-FE82BDFA85CA}"/>
              </a:ext>
            </a:extLst>
          </p:cNvPr>
          <p:cNvSpPr>
            <a:spLocks noGrp="1"/>
          </p:cNvSpPr>
          <p:nvPr>
            <p:ph type="body" sz="quarter" idx="13" hasCustomPrompt="1"/>
          </p:nvPr>
        </p:nvSpPr>
        <p:spPr>
          <a:xfrm>
            <a:off x="2306638" y="1450975"/>
            <a:ext cx="7577137" cy="2497138"/>
          </a:xfrm>
        </p:spPr>
        <p:txBody>
          <a:bodyPr/>
          <a:lstStyle>
            <a:lvl1pPr marL="0" indent="0" algn="ctr">
              <a:buNone/>
              <a:defRPr sz="4800"/>
            </a:lvl1pPr>
            <a:lvl2pPr marL="0" indent="0" algn="ctr">
              <a:buNone/>
              <a:defRPr sz="3200">
                <a:latin typeface="+mj-lt"/>
              </a:defRPr>
            </a:lvl2pPr>
            <a:lvl3pPr marL="0" indent="0" algn="ctr">
              <a:buNone/>
              <a:defRPr sz="2400">
                <a:latin typeface="+mj-lt"/>
              </a:defRPr>
            </a:lvl3pPr>
            <a:lvl4pPr marL="0" indent="0" algn="ctr">
              <a:buNone/>
              <a:defRPr sz="2000">
                <a:latin typeface="+mj-lt"/>
              </a:defRPr>
            </a:lvl4pPr>
            <a:lvl5pPr marL="0" indent="0" algn="ctr">
              <a:buNone/>
              <a:defRPr>
                <a:latin typeface="+mj-lt"/>
              </a:defRPr>
            </a:lvl5pPr>
          </a:lstStyle>
          <a:p>
            <a:pPr lvl="0"/>
            <a:r>
              <a:rPr lang="en-US"/>
              <a:t>Add Quote</a:t>
            </a:r>
          </a:p>
        </p:txBody>
      </p:sp>
      <p:sp>
        <p:nvSpPr>
          <p:cNvPr id="8" name="Guides" hidden="1">
            <a:extLst>
              <a:ext uri="{FF2B5EF4-FFF2-40B4-BE49-F238E27FC236}">
                <a16:creationId xmlns:a16="http://schemas.microsoft.com/office/drawing/2014/main" id="{24862E2E-D3BD-4369-A62D-BC73AC800144}"/>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10" name="Text Placeholder 16">
            <a:extLst>
              <a:ext uri="{FF2B5EF4-FFF2-40B4-BE49-F238E27FC236}">
                <a16:creationId xmlns:a16="http://schemas.microsoft.com/office/drawing/2014/main" id="{82117A63-744C-4E06-9EAE-597754759527}"/>
              </a:ext>
            </a:extLst>
          </p:cNvPr>
          <p:cNvSpPr>
            <a:spLocks noGrp="1"/>
          </p:cNvSpPr>
          <p:nvPr>
            <p:ph type="body" sz="quarter" idx="17" hasCustomPrompt="1"/>
          </p:nvPr>
        </p:nvSpPr>
        <p:spPr>
          <a:xfrm>
            <a:off x="4256000" y="4619567"/>
            <a:ext cx="3679999" cy="1331120"/>
          </a:xfrm>
        </p:spPr>
        <p:txBody>
          <a:bodyPr/>
          <a:lstStyle>
            <a:lvl1pPr marL="0" indent="0" algn="ctr">
              <a:buFont typeface="Arial" panose="020B0604020202020204" pitchFamily="34" charset="0"/>
              <a:buNone/>
              <a:defRPr sz="1000">
                <a:latin typeface="+mj-lt"/>
              </a:defRPr>
            </a:lvl1pPr>
            <a:lvl2pPr marL="0" indent="0" algn="ctr">
              <a:buFont typeface="Arial" panose="020B0604020202020204" pitchFamily="34" charset="0"/>
              <a:buNone/>
              <a:defRPr sz="1000">
                <a:latin typeface="+mj-lt"/>
              </a:defRPr>
            </a:lvl2pPr>
            <a:lvl3pPr marL="0" indent="0" algn="ctr">
              <a:buFont typeface="Arial" panose="020B0604020202020204" pitchFamily="34" charset="0"/>
              <a:buNone/>
              <a:defRPr sz="1000">
                <a:latin typeface="+mj-lt"/>
              </a:defRPr>
            </a:lvl3pPr>
            <a:lvl4pPr marL="0" indent="0" algn="ctr">
              <a:buFont typeface="Arial" panose="020B0604020202020204" pitchFamily="34" charset="0"/>
              <a:buNone/>
              <a:defRPr sz="1000">
                <a:latin typeface="+mj-lt"/>
              </a:defRPr>
            </a:lvl4pPr>
            <a:lvl5pPr marL="0" indent="0" algn="ctr">
              <a:buFont typeface="Arial" panose="020B0604020202020204" pitchFamily="34" charset="0"/>
              <a:buNone/>
              <a:defRPr sz="1000">
                <a:latin typeface="+mj-lt"/>
              </a:defRPr>
            </a:lvl5pPr>
          </a:lstStyle>
          <a:p>
            <a:pPr lvl="0"/>
            <a:r>
              <a:rPr lang="en-US"/>
              <a:t>Add Source</a:t>
            </a:r>
          </a:p>
          <a:p>
            <a:pPr lvl="1"/>
            <a:endParaRPr lang="en-US"/>
          </a:p>
        </p:txBody>
      </p:sp>
      <p:cxnSp>
        <p:nvCxnSpPr>
          <p:cNvPr id="17" name="Straight Connector 16">
            <a:extLst>
              <a:ext uri="{FF2B5EF4-FFF2-40B4-BE49-F238E27FC236}">
                <a16:creationId xmlns:a16="http://schemas.microsoft.com/office/drawing/2014/main" id="{F7A59D94-1A4B-4ADA-9DA1-168B73BC0C09}"/>
              </a:ext>
            </a:extLst>
          </p:cNvPr>
          <p:cNvCxnSpPr>
            <a:cxnSpLocks/>
          </p:cNvCxnSpPr>
          <p:nvPr userDrawn="1"/>
        </p:nvCxnSpPr>
        <p:spPr>
          <a:xfrm>
            <a:off x="4256000" y="4326675"/>
            <a:ext cx="3679999"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86090946"/>
      </p:ext>
    </p:extLst>
  </p:cSld>
  <p:clrMapOvr>
    <a:masterClrMapping/>
  </p:clrMapOvr>
  <p:extLst>
    <p:ext uri="{DCECCB84-F9BA-43D5-87BE-67443E8EF086}">
      <p15:sldGuideLst xmlns:p15="http://schemas.microsoft.com/office/powerpoint/2012/main">
        <p15:guide id="1" orient="horz" pos="170" userDrawn="1">
          <p15:clr>
            <a:srgbClr val="717275"/>
          </p15:clr>
        </p15:guide>
        <p15:guide id="2" orient="horz" pos="762" userDrawn="1">
          <p15:clr>
            <a:srgbClr val="717275"/>
          </p15:clr>
        </p15:guide>
        <p15:guide id="3" orient="horz" pos="1133" userDrawn="1">
          <p15:clr>
            <a:srgbClr val="FF96FF"/>
          </p15:clr>
        </p15:guide>
        <p15:guide id="4" orient="horz" pos="3753" userDrawn="1">
          <p15:clr>
            <a:srgbClr val="FF96FF"/>
          </p15:clr>
        </p15:guide>
        <p15:guide id="5" pos="226" userDrawn="1">
          <p15:clr>
            <a:srgbClr val="FF96FF"/>
          </p15:clr>
        </p15:guide>
        <p15:guide id="6" pos="1317" userDrawn="1">
          <p15:clr>
            <a:srgbClr val="FF96FF"/>
          </p15:clr>
        </p15:guide>
        <p15:guide id="7" pos="1453" userDrawn="1">
          <p15:clr>
            <a:srgbClr val="FF96FF"/>
          </p15:clr>
        </p15:guide>
        <p15:guide id="8" pos="2544" userDrawn="1">
          <p15:clr>
            <a:srgbClr val="FF96FF"/>
          </p15:clr>
        </p15:guide>
        <p15:guide id="9" pos="2680" userDrawn="1">
          <p15:clr>
            <a:srgbClr val="FF96FF"/>
          </p15:clr>
        </p15:guide>
        <p15:guide id="10" pos="3771" userDrawn="1">
          <p15:clr>
            <a:srgbClr val="FF96FF"/>
          </p15:clr>
        </p15:guide>
        <p15:guide id="11" pos="3908" userDrawn="1">
          <p15:clr>
            <a:srgbClr val="FF96FF"/>
          </p15:clr>
        </p15:guide>
        <p15:guide id="12" pos="4999" userDrawn="1">
          <p15:clr>
            <a:srgbClr val="FF96FF"/>
          </p15:clr>
        </p15:guide>
        <p15:guide id="13" pos="5135" userDrawn="1">
          <p15:clr>
            <a:srgbClr val="FF96FF"/>
          </p15:clr>
        </p15:guide>
        <p15:guide id="14" pos="6226" userDrawn="1">
          <p15:clr>
            <a:srgbClr val="FF96FF"/>
          </p15:clr>
        </p15:guide>
        <p15:guide id="15" pos="6362" userDrawn="1">
          <p15:clr>
            <a:srgbClr val="FF96FF"/>
          </p15:clr>
        </p15:guide>
        <p15:guide id="16" pos="7453" userDrawn="1">
          <p15:clr>
            <a:srgbClr val="FF96FF"/>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5ED246F0-BBF4-4152-BCCE-89F927A0D452}"/>
              </a:ext>
            </a:extLst>
          </p:cNvPr>
          <p:cNvSpPr>
            <a:spLocks noGrp="1"/>
          </p:cNvSpPr>
          <p:nvPr>
            <p:ph type="sldNum" sz="quarter" idx="12"/>
          </p:nvPr>
        </p:nvSpPr>
        <p:spPr/>
        <p:txBody>
          <a:bodyPr/>
          <a:lstStyle/>
          <a:p>
            <a:fld id="{9E2BE927-25C7-4379-86F1-C17ED9D2A7F2}" type="slidenum">
              <a:rPr lang="en-US" smtClean="0"/>
              <a:pPr/>
              <a:t>‹#›</a:t>
            </a:fld>
            <a:endParaRPr lang="en-US"/>
          </a:p>
        </p:txBody>
      </p:sp>
      <p:sp>
        <p:nvSpPr>
          <p:cNvPr id="6" name="Guides" hidden="1">
            <a:extLst>
              <a:ext uri="{FF2B5EF4-FFF2-40B4-BE49-F238E27FC236}">
                <a16:creationId xmlns:a16="http://schemas.microsoft.com/office/drawing/2014/main" id="{53DE0FE0-6D29-4965-A5CE-ABC21AEA398E}"/>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7" name="Title 1">
            <a:extLst>
              <a:ext uri="{FF2B5EF4-FFF2-40B4-BE49-F238E27FC236}">
                <a16:creationId xmlns:a16="http://schemas.microsoft.com/office/drawing/2014/main" id="{68C366B9-0297-413E-8878-727A083710B5}"/>
              </a:ext>
            </a:extLst>
          </p:cNvPr>
          <p:cNvSpPr>
            <a:spLocks noGrp="1"/>
          </p:cNvSpPr>
          <p:nvPr>
            <p:ph type="title" hasCustomPrompt="1"/>
          </p:nvPr>
        </p:nvSpPr>
        <p:spPr>
          <a:xfrm>
            <a:off x="360000" y="270001"/>
            <a:ext cx="11471638" cy="468000"/>
          </a:xfrm>
        </p:spPr>
        <p:txBody>
          <a:bodyPr>
            <a:noAutofit/>
          </a:bodyPr>
          <a:lstStyle>
            <a:lvl1pPr>
              <a:defRPr/>
            </a:lvl1pPr>
          </a:lstStyle>
          <a:p>
            <a:r>
              <a:rPr lang="en-US"/>
              <a:t>Add title</a:t>
            </a:r>
          </a:p>
        </p:txBody>
      </p:sp>
      <p:sp>
        <p:nvSpPr>
          <p:cNvPr id="9" name="Text Placeholder 8">
            <a:extLst>
              <a:ext uri="{FF2B5EF4-FFF2-40B4-BE49-F238E27FC236}">
                <a16:creationId xmlns:a16="http://schemas.microsoft.com/office/drawing/2014/main" id="{0903E37F-1C65-4A6B-BC1A-06099BEA66D2}"/>
              </a:ext>
            </a:extLst>
          </p:cNvPr>
          <p:cNvSpPr>
            <a:spLocks noGrp="1"/>
          </p:cNvSpPr>
          <p:nvPr>
            <p:ph type="body" sz="quarter" idx="13" hasCustomPrompt="1"/>
          </p:nvPr>
        </p:nvSpPr>
        <p:spPr>
          <a:xfrm>
            <a:off x="359639" y="742950"/>
            <a:ext cx="11471999" cy="468000"/>
          </a:xfrm>
        </p:spPr>
        <p:txBody>
          <a:bodyPr>
            <a:noAutofit/>
          </a:bodyPr>
          <a:lstStyle>
            <a:lvl1pPr marL="0" indent="0">
              <a:buFont typeface="Arial" panose="020B0604020202020204" pitchFamily="34" charset="0"/>
              <a:buNone/>
              <a:tabLst/>
              <a:defRPr sz="3200">
                <a:latin typeface="+mn-lt"/>
              </a:defRPr>
            </a:lvl1pPr>
            <a:lvl2pPr marL="0" indent="0">
              <a:buFont typeface="Arial" panose="020B0604020202020204" pitchFamily="34" charset="0"/>
              <a:buNone/>
              <a:tabLst/>
              <a:defRPr sz="3200">
                <a:latin typeface="+mn-lt"/>
              </a:defRPr>
            </a:lvl2pPr>
            <a:lvl3pPr marL="0" indent="0">
              <a:buFont typeface="Arial" panose="020B0604020202020204" pitchFamily="34" charset="0"/>
              <a:buNone/>
              <a:tabLst/>
              <a:defRPr sz="3200">
                <a:latin typeface="+mn-lt"/>
              </a:defRPr>
            </a:lvl3pPr>
            <a:lvl4pPr marL="0" indent="0">
              <a:buFont typeface="Arial" panose="020B0604020202020204" pitchFamily="34" charset="0"/>
              <a:buNone/>
              <a:tabLst/>
              <a:defRPr sz="3200">
                <a:latin typeface="+mn-lt"/>
              </a:defRPr>
            </a:lvl4pPr>
            <a:lvl5pPr marL="0" indent="0">
              <a:buFont typeface="Arial" panose="020B0604020202020204" pitchFamily="34" charset="0"/>
              <a:buNone/>
              <a:tabLst/>
              <a:defRPr sz="3200">
                <a:latin typeface="+mn-lt"/>
              </a:defRPr>
            </a:lvl5pPr>
          </a:lstStyle>
          <a:p>
            <a:pPr lvl="0"/>
            <a:r>
              <a:rPr lang="en-US"/>
              <a:t>Add subtitle</a:t>
            </a:r>
          </a:p>
        </p:txBody>
      </p:sp>
    </p:spTree>
    <p:extLst>
      <p:ext uri="{BB962C8B-B14F-4D97-AF65-F5344CB8AC3E}">
        <p14:creationId xmlns:p14="http://schemas.microsoft.com/office/powerpoint/2010/main" val="4239502352"/>
      </p:ext>
    </p:extLst>
  </p:cSld>
  <p:clrMapOvr>
    <a:masterClrMapping/>
  </p:clrMapOvr>
  <p:extLst>
    <p:ext uri="{DCECCB84-F9BA-43D5-87BE-67443E8EF086}">
      <p15:sldGuideLst xmlns:p15="http://schemas.microsoft.com/office/powerpoint/2012/main">
        <p15:guide id="1" orient="horz" pos="170" userDrawn="1">
          <p15:clr>
            <a:srgbClr val="717275"/>
          </p15:clr>
        </p15:guide>
        <p15:guide id="2" orient="horz" pos="762" userDrawn="1">
          <p15:clr>
            <a:srgbClr val="717275"/>
          </p15:clr>
        </p15:guide>
        <p15:guide id="3" orient="horz" pos="1133" userDrawn="1">
          <p15:clr>
            <a:srgbClr val="FF96FF"/>
          </p15:clr>
        </p15:guide>
        <p15:guide id="4" orient="horz" pos="3753" userDrawn="1">
          <p15:clr>
            <a:srgbClr val="FF96FF"/>
          </p15:clr>
        </p15:guide>
        <p15:guide id="5" pos="226" userDrawn="1">
          <p15:clr>
            <a:srgbClr val="FF96FF"/>
          </p15:clr>
        </p15:guide>
        <p15:guide id="6" pos="1317" userDrawn="1">
          <p15:clr>
            <a:srgbClr val="FF96FF"/>
          </p15:clr>
        </p15:guide>
        <p15:guide id="7" pos="1453" userDrawn="1">
          <p15:clr>
            <a:srgbClr val="FF96FF"/>
          </p15:clr>
        </p15:guide>
        <p15:guide id="8" pos="2544" userDrawn="1">
          <p15:clr>
            <a:srgbClr val="FF96FF"/>
          </p15:clr>
        </p15:guide>
        <p15:guide id="9" pos="2680" userDrawn="1">
          <p15:clr>
            <a:srgbClr val="FF96FF"/>
          </p15:clr>
        </p15:guide>
        <p15:guide id="10" pos="3771" userDrawn="1">
          <p15:clr>
            <a:srgbClr val="FF96FF"/>
          </p15:clr>
        </p15:guide>
        <p15:guide id="11" pos="3908" userDrawn="1">
          <p15:clr>
            <a:srgbClr val="FF96FF"/>
          </p15:clr>
        </p15:guide>
        <p15:guide id="12" pos="4999" userDrawn="1">
          <p15:clr>
            <a:srgbClr val="FF96FF"/>
          </p15:clr>
        </p15:guide>
        <p15:guide id="13" pos="5135" userDrawn="1">
          <p15:clr>
            <a:srgbClr val="FF96FF"/>
          </p15:clr>
        </p15:guide>
        <p15:guide id="14" pos="6226" userDrawn="1">
          <p15:clr>
            <a:srgbClr val="FF96FF"/>
          </p15:clr>
        </p15:guide>
        <p15:guide id="15" pos="6362" userDrawn="1">
          <p15:clr>
            <a:srgbClr val="FF96FF"/>
          </p15:clr>
        </p15:guide>
        <p15:guide id="16" pos="7453" userDrawn="1">
          <p15:clr>
            <a:srgbClr val="FF96FF"/>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5ED246F0-BBF4-4152-BCCE-89F927A0D452}"/>
              </a:ext>
            </a:extLst>
          </p:cNvPr>
          <p:cNvSpPr>
            <a:spLocks noGrp="1"/>
          </p:cNvSpPr>
          <p:nvPr>
            <p:ph type="sldNum" sz="quarter" idx="12"/>
          </p:nvPr>
        </p:nvSpPr>
        <p:spPr/>
        <p:txBody>
          <a:bodyPr/>
          <a:lstStyle/>
          <a:p>
            <a:fld id="{9E2BE927-25C7-4379-86F1-C17ED9D2A7F2}" type="slidenum">
              <a:rPr lang="en-US" smtClean="0"/>
              <a:pPr/>
              <a:t>‹#›</a:t>
            </a:fld>
            <a:endParaRPr lang="en-US"/>
          </a:p>
        </p:txBody>
      </p:sp>
      <p:sp>
        <p:nvSpPr>
          <p:cNvPr id="6" name="Guides" hidden="1">
            <a:extLst>
              <a:ext uri="{FF2B5EF4-FFF2-40B4-BE49-F238E27FC236}">
                <a16:creationId xmlns:a16="http://schemas.microsoft.com/office/drawing/2014/main" id="{53DE0FE0-6D29-4965-A5CE-ABC21AEA398E}"/>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Tree>
    <p:extLst>
      <p:ext uri="{BB962C8B-B14F-4D97-AF65-F5344CB8AC3E}">
        <p14:creationId xmlns:p14="http://schemas.microsoft.com/office/powerpoint/2010/main" val="3070024150"/>
      </p:ext>
    </p:extLst>
  </p:cSld>
  <p:clrMapOvr>
    <a:masterClrMapping/>
  </p:clrMapOvr>
  <p:extLst>
    <p:ext uri="{DCECCB84-F9BA-43D5-87BE-67443E8EF086}">
      <p15:sldGuideLst xmlns:p15="http://schemas.microsoft.com/office/powerpoint/2012/main">
        <p15:guide id="1" orient="horz" pos="170" userDrawn="1">
          <p15:clr>
            <a:srgbClr val="717275"/>
          </p15:clr>
        </p15:guide>
        <p15:guide id="2" orient="horz" pos="762" userDrawn="1">
          <p15:clr>
            <a:srgbClr val="717275"/>
          </p15:clr>
        </p15:guide>
        <p15:guide id="3" orient="horz" pos="1133" userDrawn="1">
          <p15:clr>
            <a:srgbClr val="FF96FF"/>
          </p15:clr>
        </p15:guide>
        <p15:guide id="4" orient="horz" pos="3753" userDrawn="1">
          <p15:clr>
            <a:srgbClr val="FF96FF"/>
          </p15:clr>
        </p15:guide>
        <p15:guide id="5" pos="226" userDrawn="1">
          <p15:clr>
            <a:srgbClr val="FF96FF"/>
          </p15:clr>
        </p15:guide>
        <p15:guide id="6" pos="1317" userDrawn="1">
          <p15:clr>
            <a:srgbClr val="FF96FF"/>
          </p15:clr>
        </p15:guide>
        <p15:guide id="7" pos="1453" userDrawn="1">
          <p15:clr>
            <a:srgbClr val="FF96FF"/>
          </p15:clr>
        </p15:guide>
        <p15:guide id="8" pos="2544" userDrawn="1">
          <p15:clr>
            <a:srgbClr val="FF96FF"/>
          </p15:clr>
        </p15:guide>
        <p15:guide id="9" pos="2680" userDrawn="1">
          <p15:clr>
            <a:srgbClr val="FF96FF"/>
          </p15:clr>
        </p15:guide>
        <p15:guide id="10" pos="3771" userDrawn="1">
          <p15:clr>
            <a:srgbClr val="FF96FF"/>
          </p15:clr>
        </p15:guide>
        <p15:guide id="11" pos="3908" userDrawn="1">
          <p15:clr>
            <a:srgbClr val="FF96FF"/>
          </p15:clr>
        </p15:guide>
        <p15:guide id="12" pos="4999" userDrawn="1">
          <p15:clr>
            <a:srgbClr val="FF96FF"/>
          </p15:clr>
        </p15:guide>
        <p15:guide id="13" pos="5135" userDrawn="1">
          <p15:clr>
            <a:srgbClr val="FF96FF"/>
          </p15:clr>
        </p15:guide>
        <p15:guide id="14" pos="6226" userDrawn="1">
          <p15:clr>
            <a:srgbClr val="FF96FF"/>
          </p15:clr>
        </p15:guide>
        <p15:guide id="15" pos="6362" userDrawn="1">
          <p15:clr>
            <a:srgbClr val="FF96FF"/>
          </p15:clr>
        </p15:guide>
        <p15:guide id="16" pos="7453" userDrawn="1">
          <p15:clr>
            <a:srgbClr val="FF96FF"/>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End 1">
    <p:bg>
      <p:bgPr>
        <a:solidFill>
          <a:schemeClr val="bg1"/>
        </a:solidFill>
        <a:effectLst/>
      </p:bgPr>
    </p:bg>
    <p:spTree>
      <p:nvGrpSpPr>
        <p:cNvPr id="1" name=""/>
        <p:cNvGrpSpPr/>
        <p:nvPr/>
      </p:nvGrpSpPr>
      <p:grpSpPr>
        <a:xfrm>
          <a:off x="0" y="0"/>
          <a:ext cx="0" cy="0"/>
          <a:chOff x="0" y="0"/>
          <a:chExt cx="0" cy="0"/>
        </a:xfrm>
      </p:grpSpPr>
      <p:sp>
        <p:nvSpPr>
          <p:cNvPr id="7" name="Guides" hidden="1">
            <a:extLst>
              <a:ext uri="{FF2B5EF4-FFF2-40B4-BE49-F238E27FC236}">
                <a16:creationId xmlns:a16="http://schemas.microsoft.com/office/drawing/2014/main" id="{75BAC15C-B945-49BD-AE8D-EB6E4780AD56}"/>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11" name="Text Placeholder 4">
            <a:extLst>
              <a:ext uri="{FF2B5EF4-FFF2-40B4-BE49-F238E27FC236}">
                <a16:creationId xmlns:a16="http://schemas.microsoft.com/office/drawing/2014/main" id="{C1FD63CC-A978-4C2B-99A8-7C2D950AF9CB}"/>
              </a:ext>
            </a:extLst>
          </p:cNvPr>
          <p:cNvSpPr>
            <a:spLocks noGrp="1"/>
          </p:cNvSpPr>
          <p:nvPr>
            <p:ph type="body" sz="quarter" idx="12" hasCustomPrompt="1"/>
          </p:nvPr>
        </p:nvSpPr>
        <p:spPr>
          <a:xfrm>
            <a:off x="358775" y="1557339"/>
            <a:ext cx="11474450" cy="1871662"/>
          </a:xfrm>
        </p:spPr>
        <p:txBody>
          <a:bodyPr/>
          <a:lstStyle>
            <a:lvl1pPr marL="0" indent="0">
              <a:buNone/>
              <a:defRPr sz="8800">
                <a:latin typeface="+mj-lt"/>
              </a:defRPr>
            </a:lvl1pPr>
            <a:lvl2pPr marL="0" indent="0">
              <a:buNone/>
              <a:defRPr sz="8800">
                <a:latin typeface="+mj-lt"/>
              </a:defRPr>
            </a:lvl2pPr>
            <a:lvl3pPr marL="0" indent="0">
              <a:buNone/>
              <a:defRPr sz="8800">
                <a:latin typeface="+mj-lt"/>
              </a:defRPr>
            </a:lvl3pPr>
            <a:lvl4pPr marL="0" indent="0">
              <a:buNone/>
              <a:defRPr sz="8800">
                <a:latin typeface="+mj-lt"/>
              </a:defRPr>
            </a:lvl4pPr>
            <a:lvl5pPr marL="0" indent="0">
              <a:buNone/>
              <a:defRPr sz="8800">
                <a:latin typeface="+mj-lt"/>
              </a:defRPr>
            </a:lvl5pPr>
            <a:lvl6pPr marL="0" indent="0">
              <a:buNone/>
              <a:defRPr sz="8800">
                <a:latin typeface="+mj-lt"/>
              </a:defRPr>
            </a:lvl6pPr>
          </a:lstStyle>
          <a:p>
            <a:pPr lvl="0"/>
            <a:r>
              <a:rPr lang="en-US"/>
              <a:t>Add title</a:t>
            </a:r>
          </a:p>
        </p:txBody>
      </p:sp>
      <p:sp>
        <p:nvSpPr>
          <p:cNvPr id="12" name="TextBox 11">
            <a:extLst>
              <a:ext uri="{FF2B5EF4-FFF2-40B4-BE49-F238E27FC236}">
                <a16:creationId xmlns:a16="http://schemas.microsoft.com/office/drawing/2014/main" id="{5225C59A-8675-4B03-ACEC-03DF1D570DD4}"/>
              </a:ext>
            </a:extLst>
          </p:cNvPr>
          <p:cNvSpPr txBox="1"/>
          <p:nvPr userDrawn="1"/>
        </p:nvSpPr>
        <p:spPr>
          <a:xfrm>
            <a:off x="3876187" y="5633832"/>
            <a:ext cx="1741715" cy="759890"/>
          </a:xfrm>
          <a:prstGeom prst="rect">
            <a:avLst/>
          </a:prstGeom>
          <a:noFill/>
        </p:spPr>
        <p:txBody>
          <a:bodyPr wrap="square" lIns="0" tIns="0" rIns="0" bIns="0" rtlCol="0">
            <a:noAutofit/>
          </a:bodyPr>
          <a:lstStyle/>
          <a:p>
            <a:pPr>
              <a:spcAft>
                <a:spcPts val="900"/>
              </a:spcAft>
            </a:pPr>
            <a:r>
              <a:rPr lang="en-US" sz="800"/>
              <a:t>The Global Fund to Fight</a:t>
            </a:r>
            <a:br>
              <a:rPr lang="en-GB" sz="800"/>
            </a:br>
            <a:r>
              <a:rPr lang="en-US" sz="800"/>
              <a:t>AIDS, Tuberculosis and Malaria</a:t>
            </a: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a:t>+41 58 791 1700</a:t>
            </a: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u="none">
                <a:solidFill>
                  <a:schemeClr val="tx1"/>
                </a:solidFill>
                <a:hlinkClick r:id="rId3">
                  <a:extLst>
                    <a:ext uri="{A12FA001-AC4F-418D-AE19-62706E023703}">
                      <ahyp:hlinkClr xmlns:ahyp="http://schemas.microsoft.com/office/drawing/2018/hyperlinkcolor" val="tx"/>
                    </a:ext>
                  </a:extLst>
                </a:hlinkClick>
              </a:rPr>
              <a:t>theglobalfund.org</a:t>
            </a:r>
            <a:endParaRPr lang="en-US" sz="800" u="none">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a:t> </a:t>
            </a:r>
            <a:endParaRPr lang="en-US"/>
          </a:p>
          <a:p>
            <a:endParaRPr lang="en-US" sz="800"/>
          </a:p>
        </p:txBody>
      </p:sp>
      <p:pic>
        <p:nvPicPr>
          <p:cNvPr id="1908689247" name="image" descr="{&quot;templafy&quot;:{&quot;id&quot;:&quot;dbba1d9f-8f9d-4e6a-9a83-962bb42bde31&quot;}}"/>
          <p:cNvPicPr>
            <a:picLocks noChangeAspect="1"/>
          </p:cNvPicPr>
          <p:nvPr/>
        </p:nvPicPr>
        <p:blipFill>
          <a:blip r:embed="rId4"/>
          <a:stretch>
            <a:fillRect/>
          </a:stretch>
        </p:blipFill>
        <p:spPr>
          <a:xfrm>
            <a:off x="358775" y="5633832"/>
            <a:ext cx="2253600" cy="290941"/>
          </a:xfrm>
          <a:prstGeom prst="rect">
            <a:avLst/>
          </a:prstGeom>
        </p:spPr>
      </p:pic>
      <p:pic>
        <p:nvPicPr>
          <p:cNvPr id="4" name="Picture 3" hidden="1">
            <a:extLst>
              <a:ext uri="{FF2B5EF4-FFF2-40B4-BE49-F238E27FC236}">
                <a16:creationId xmlns:a16="http://schemas.microsoft.com/office/drawing/2014/main" id="{54FA2B71-99E1-473E-A2DF-33B2F34EB527}"/>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358775" y="5633832"/>
            <a:ext cx="3067378" cy="396000"/>
          </a:xfrm>
          <a:prstGeom prst="rect">
            <a:avLst/>
          </a:prstGeom>
        </p:spPr>
      </p:pic>
    </p:spTree>
    <p:extLst>
      <p:ext uri="{BB962C8B-B14F-4D97-AF65-F5344CB8AC3E}">
        <p14:creationId xmlns:p14="http://schemas.microsoft.com/office/powerpoint/2010/main" val="2856525836"/>
      </p:ext>
    </p:extLst>
  </p:cSld>
  <p:clrMapOvr>
    <a:masterClrMapping/>
  </p:clrMapOvr>
  <p:extLst>
    <p:ext uri="{DCECCB84-F9BA-43D5-87BE-67443E8EF086}">
      <p15:sldGuideLst xmlns:p15="http://schemas.microsoft.com/office/powerpoint/2012/main">
        <p15:guide id="1" orient="horz" pos="170" userDrawn="1">
          <p15:clr>
            <a:srgbClr val="717275"/>
          </p15:clr>
        </p15:guide>
        <p15:guide id="3" orient="horz" pos="981" userDrawn="1">
          <p15:clr>
            <a:srgbClr val="FF96FF"/>
          </p15:clr>
        </p15:guide>
        <p15:guide id="4" orient="horz" pos="3543" userDrawn="1">
          <p15:clr>
            <a:srgbClr val="FF96FF"/>
          </p15:clr>
        </p15:guide>
        <p15:guide id="5" pos="226" userDrawn="1">
          <p15:clr>
            <a:srgbClr val="FF96FF"/>
          </p15:clr>
        </p15:guide>
        <p15:guide id="6" pos="7453" userDrawn="1">
          <p15:clr>
            <a:srgbClr val="FF96FF"/>
          </p15:clr>
        </p15:guide>
        <p15:guide id="7" orient="horz" pos="4020" userDrawn="1">
          <p15:clr>
            <a:srgbClr val="FF96FF"/>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End 2">
    <p:bg>
      <p:bgPr>
        <a:solidFill>
          <a:schemeClr val="bg1"/>
        </a:solidFill>
        <a:effectLst/>
      </p:bgPr>
    </p:bg>
    <p:spTree>
      <p:nvGrpSpPr>
        <p:cNvPr id="1" name=""/>
        <p:cNvGrpSpPr/>
        <p:nvPr/>
      </p:nvGrpSpPr>
      <p:grpSpPr>
        <a:xfrm>
          <a:off x="0" y="0"/>
          <a:ext cx="0" cy="0"/>
          <a:chOff x="0" y="0"/>
          <a:chExt cx="0" cy="0"/>
        </a:xfrm>
      </p:grpSpPr>
      <p:pic>
        <p:nvPicPr>
          <p:cNvPr id="11" name="Graphic 10">
            <a:extLst>
              <a:ext uri="{FF2B5EF4-FFF2-40B4-BE49-F238E27FC236}">
                <a16:creationId xmlns:a16="http://schemas.microsoft.com/office/drawing/2014/main" id="{B7B44933-F307-4411-8D48-0B57B30565FF}"/>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flipV="1">
            <a:off x="76200" y="34890"/>
            <a:ext cx="12049125" cy="6788220"/>
          </a:xfrm>
          <a:prstGeom prst="rect">
            <a:avLst/>
          </a:prstGeom>
        </p:spPr>
      </p:pic>
      <p:sp>
        <p:nvSpPr>
          <p:cNvPr id="7" name="Guides" hidden="1">
            <a:extLst>
              <a:ext uri="{FF2B5EF4-FFF2-40B4-BE49-F238E27FC236}">
                <a16:creationId xmlns:a16="http://schemas.microsoft.com/office/drawing/2014/main" id="{75BAC15C-B945-49BD-AE8D-EB6E4780AD56}"/>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10" name="Text Placeholder 4">
            <a:extLst>
              <a:ext uri="{FF2B5EF4-FFF2-40B4-BE49-F238E27FC236}">
                <a16:creationId xmlns:a16="http://schemas.microsoft.com/office/drawing/2014/main" id="{789ECC92-A128-4CDE-8B97-635C44BBBF57}"/>
              </a:ext>
            </a:extLst>
          </p:cNvPr>
          <p:cNvSpPr>
            <a:spLocks noGrp="1"/>
          </p:cNvSpPr>
          <p:nvPr>
            <p:ph type="body" sz="quarter" idx="12" hasCustomPrompt="1"/>
          </p:nvPr>
        </p:nvSpPr>
        <p:spPr>
          <a:xfrm>
            <a:off x="358775" y="1557338"/>
            <a:ext cx="11474450" cy="1728787"/>
          </a:xfrm>
        </p:spPr>
        <p:txBody>
          <a:bodyPr/>
          <a:lstStyle>
            <a:lvl1pPr marL="0" indent="0">
              <a:buNone/>
              <a:defRPr sz="8800">
                <a:latin typeface="+mj-lt"/>
              </a:defRPr>
            </a:lvl1pPr>
            <a:lvl2pPr marL="0" indent="0">
              <a:buNone/>
              <a:defRPr sz="8800">
                <a:latin typeface="+mj-lt"/>
              </a:defRPr>
            </a:lvl2pPr>
            <a:lvl3pPr marL="0" indent="0">
              <a:buNone/>
              <a:defRPr sz="8800">
                <a:latin typeface="+mj-lt"/>
              </a:defRPr>
            </a:lvl3pPr>
            <a:lvl4pPr marL="0" indent="0">
              <a:buNone/>
              <a:defRPr sz="8800">
                <a:latin typeface="+mj-lt"/>
              </a:defRPr>
            </a:lvl4pPr>
            <a:lvl5pPr marL="0" indent="0">
              <a:buNone/>
              <a:defRPr sz="8800">
                <a:latin typeface="+mj-lt"/>
              </a:defRPr>
            </a:lvl5pPr>
            <a:lvl6pPr marL="0" indent="0">
              <a:buNone/>
              <a:defRPr sz="8800">
                <a:latin typeface="+mj-lt"/>
              </a:defRPr>
            </a:lvl6pPr>
          </a:lstStyle>
          <a:p>
            <a:pPr lvl="0"/>
            <a:r>
              <a:rPr lang="en-US"/>
              <a:t>Add title</a:t>
            </a:r>
          </a:p>
        </p:txBody>
      </p:sp>
      <p:sp>
        <p:nvSpPr>
          <p:cNvPr id="14" name="TextBox 13">
            <a:extLst>
              <a:ext uri="{FF2B5EF4-FFF2-40B4-BE49-F238E27FC236}">
                <a16:creationId xmlns:a16="http://schemas.microsoft.com/office/drawing/2014/main" id="{E38C1E33-0E03-4092-A13C-B799FA398BC0}"/>
              </a:ext>
            </a:extLst>
          </p:cNvPr>
          <p:cNvSpPr txBox="1"/>
          <p:nvPr userDrawn="1"/>
        </p:nvSpPr>
        <p:spPr>
          <a:xfrm>
            <a:off x="3876187" y="5633832"/>
            <a:ext cx="1741715" cy="759890"/>
          </a:xfrm>
          <a:prstGeom prst="rect">
            <a:avLst/>
          </a:prstGeom>
          <a:noFill/>
        </p:spPr>
        <p:txBody>
          <a:bodyPr wrap="square" lIns="0" tIns="0" rIns="0" bIns="0" rtlCol="0">
            <a:noAutofit/>
          </a:bodyPr>
          <a:lstStyle/>
          <a:p>
            <a:pPr>
              <a:spcAft>
                <a:spcPts val="900"/>
              </a:spcAft>
            </a:pPr>
            <a:r>
              <a:rPr lang="en-US" sz="800"/>
              <a:t>The Global Fund to Fight</a:t>
            </a:r>
            <a:br>
              <a:rPr lang="en-GB" sz="800"/>
            </a:br>
            <a:r>
              <a:rPr lang="en-US" sz="800"/>
              <a:t>AIDS, Tuberculosis and Malaria</a:t>
            </a: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a:t>+41 58 791 1700</a:t>
            </a: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u="none">
                <a:solidFill>
                  <a:schemeClr val="tx1"/>
                </a:solidFill>
                <a:hlinkClick r:id="rId5">
                  <a:extLst>
                    <a:ext uri="{A12FA001-AC4F-418D-AE19-62706E023703}">
                      <ahyp:hlinkClr xmlns:ahyp="http://schemas.microsoft.com/office/drawing/2018/hyperlinkcolor" val="tx"/>
                    </a:ext>
                  </a:extLst>
                </a:hlinkClick>
              </a:rPr>
              <a:t>theglobalfund.org</a:t>
            </a:r>
            <a:endParaRPr lang="en-US" sz="800" u="none">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a:t> </a:t>
            </a:r>
            <a:endParaRPr lang="en-US"/>
          </a:p>
          <a:p>
            <a:endParaRPr lang="en-US" sz="800"/>
          </a:p>
        </p:txBody>
      </p:sp>
      <p:pic>
        <p:nvPicPr>
          <p:cNvPr id="1212926532" name="image" descr="{&quot;templafy&quot;:{&quot;id&quot;:&quot;1ca28c29-eb4d-48e9-8c4c-fbe7c10d2377&quot;}}"/>
          <p:cNvPicPr>
            <a:picLocks noChangeAspect="1"/>
          </p:cNvPicPr>
          <p:nvPr/>
        </p:nvPicPr>
        <p:blipFill>
          <a:blip r:embed="rId6"/>
          <a:stretch>
            <a:fillRect/>
          </a:stretch>
        </p:blipFill>
        <p:spPr>
          <a:xfrm>
            <a:off x="358775" y="5633832"/>
            <a:ext cx="2253600" cy="290941"/>
          </a:xfrm>
          <a:prstGeom prst="rect">
            <a:avLst/>
          </a:prstGeom>
        </p:spPr>
      </p:pic>
      <p:pic>
        <p:nvPicPr>
          <p:cNvPr id="3" name="Picture 2" hidden="1">
            <a:extLst>
              <a:ext uri="{FF2B5EF4-FFF2-40B4-BE49-F238E27FC236}">
                <a16:creationId xmlns:a16="http://schemas.microsoft.com/office/drawing/2014/main" id="{DC7F089C-D76B-4819-A83A-8871BAFA1B11}"/>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358775" y="5633832"/>
            <a:ext cx="3067377" cy="396000"/>
          </a:xfrm>
          <a:prstGeom prst="rect">
            <a:avLst/>
          </a:prstGeom>
        </p:spPr>
      </p:pic>
    </p:spTree>
    <p:extLst>
      <p:ext uri="{BB962C8B-B14F-4D97-AF65-F5344CB8AC3E}">
        <p14:creationId xmlns:p14="http://schemas.microsoft.com/office/powerpoint/2010/main" val="1488188693"/>
      </p:ext>
    </p:extLst>
  </p:cSld>
  <p:clrMapOvr>
    <a:masterClrMapping/>
  </p:clrMapOvr>
  <p:extLst>
    <p:ext uri="{DCECCB84-F9BA-43D5-87BE-67443E8EF086}">
      <p15:sldGuideLst xmlns:p15="http://schemas.microsoft.com/office/powerpoint/2012/main">
        <p15:guide id="1" orient="horz" pos="170" userDrawn="1">
          <p15:clr>
            <a:srgbClr val="717275"/>
          </p15:clr>
        </p15:guide>
        <p15:guide id="2" orient="horz" pos="762" userDrawn="1">
          <p15:clr>
            <a:srgbClr val="717275"/>
          </p15:clr>
        </p15:guide>
        <p15:guide id="3" orient="horz" pos="1133" userDrawn="1">
          <p15:clr>
            <a:srgbClr val="FF96FF"/>
          </p15:clr>
        </p15:guide>
        <p15:guide id="4" orient="horz" pos="3543" userDrawn="1">
          <p15:clr>
            <a:srgbClr val="FF96FF"/>
          </p15:clr>
        </p15:guide>
        <p15:guide id="5" pos="226" userDrawn="1">
          <p15:clr>
            <a:srgbClr val="FF96FF"/>
          </p15:clr>
        </p15:guide>
        <p15:guide id="6" pos="7453" userDrawn="1">
          <p15:clr>
            <a:srgbClr val="FF96FF"/>
          </p15:clr>
        </p15:guide>
        <p15:guide id="7" orient="horz" pos="4020" userDrawn="1">
          <p15:clr>
            <a:srgbClr val="FF96FF"/>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End 3">
    <p:bg>
      <p:bgPr>
        <a:solidFill>
          <a:schemeClr val="bg1"/>
        </a:solidFill>
        <a:effectLst/>
      </p:bgPr>
    </p:bg>
    <p:spTree>
      <p:nvGrpSpPr>
        <p:cNvPr id="1" name=""/>
        <p:cNvGrpSpPr/>
        <p:nvPr/>
      </p:nvGrpSpPr>
      <p:grpSpPr>
        <a:xfrm>
          <a:off x="0" y="0"/>
          <a:ext cx="0" cy="0"/>
          <a:chOff x="0" y="0"/>
          <a:chExt cx="0" cy="0"/>
        </a:xfrm>
      </p:grpSpPr>
      <p:sp>
        <p:nvSpPr>
          <p:cNvPr id="7" name="Guides" hidden="1">
            <a:extLst>
              <a:ext uri="{FF2B5EF4-FFF2-40B4-BE49-F238E27FC236}">
                <a16:creationId xmlns:a16="http://schemas.microsoft.com/office/drawing/2014/main" id="{75BAC15C-B945-49BD-AE8D-EB6E4780AD56}"/>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11" name="Text Placeholder 4">
            <a:extLst>
              <a:ext uri="{FF2B5EF4-FFF2-40B4-BE49-F238E27FC236}">
                <a16:creationId xmlns:a16="http://schemas.microsoft.com/office/drawing/2014/main" id="{4A80D473-87BE-4921-9A12-5CE61205864C}"/>
              </a:ext>
            </a:extLst>
          </p:cNvPr>
          <p:cNvSpPr>
            <a:spLocks noGrp="1"/>
          </p:cNvSpPr>
          <p:nvPr>
            <p:ph type="body" sz="quarter" idx="12" hasCustomPrompt="1"/>
          </p:nvPr>
        </p:nvSpPr>
        <p:spPr>
          <a:xfrm>
            <a:off x="358775" y="269876"/>
            <a:ext cx="11474450" cy="1528762"/>
          </a:xfrm>
        </p:spPr>
        <p:txBody>
          <a:bodyPr/>
          <a:lstStyle>
            <a:lvl1pPr marL="0" indent="0">
              <a:buNone/>
              <a:defRPr sz="8800">
                <a:latin typeface="+mj-lt"/>
              </a:defRPr>
            </a:lvl1pPr>
            <a:lvl2pPr marL="0" indent="0">
              <a:buNone/>
              <a:defRPr sz="8800">
                <a:latin typeface="+mj-lt"/>
              </a:defRPr>
            </a:lvl2pPr>
            <a:lvl3pPr marL="0" indent="0">
              <a:buNone/>
              <a:defRPr sz="8800">
                <a:latin typeface="+mj-lt"/>
              </a:defRPr>
            </a:lvl3pPr>
            <a:lvl4pPr marL="0" indent="0">
              <a:buNone/>
              <a:defRPr sz="8800">
                <a:latin typeface="+mj-lt"/>
              </a:defRPr>
            </a:lvl4pPr>
            <a:lvl5pPr marL="0" indent="0">
              <a:buNone/>
              <a:defRPr sz="8800">
                <a:latin typeface="+mj-lt"/>
              </a:defRPr>
            </a:lvl5pPr>
            <a:lvl6pPr marL="0" indent="0">
              <a:buNone/>
              <a:defRPr sz="8800">
                <a:latin typeface="+mj-lt"/>
              </a:defRPr>
            </a:lvl6pPr>
          </a:lstStyle>
          <a:p>
            <a:pPr lvl="0"/>
            <a:r>
              <a:rPr lang="en-US"/>
              <a:t>Add title</a:t>
            </a:r>
          </a:p>
        </p:txBody>
      </p:sp>
      <p:sp>
        <p:nvSpPr>
          <p:cNvPr id="13" name="TextBox 12">
            <a:extLst>
              <a:ext uri="{FF2B5EF4-FFF2-40B4-BE49-F238E27FC236}">
                <a16:creationId xmlns:a16="http://schemas.microsoft.com/office/drawing/2014/main" id="{CED6CFF4-D465-49C4-AA32-61E02E500E02}"/>
              </a:ext>
            </a:extLst>
          </p:cNvPr>
          <p:cNvSpPr txBox="1"/>
          <p:nvPr userDrawn="1"/>
        </p:nvSpPr>
        <p:spPr>
          <a:xfrm>
            <a:off x="3795977" y="5633832"/>
            <a:ext cx="1741715" cy="759890"/>
          </a:xfrm>
          <a:prstGeom prst="rect">
            <a:avLst/>
          </a:prstGeom>
          <a:noFill/>
        </p:spPr>
        <p:txBody>
          <a:bodyPr wrap="square" lIns="0" tIns="0" rIns="0" bIns="0" rtlCol="0">
            <a:noAutofit/>
          </a:bodyPr>
          <a:lstStyle/>
          <a:p>
            <a:pPr>
              <a:spcAft>
                <a:spcPts val="900"/>
              </a:spcAft>
            </a:pPr>
            <a:r>
              <a:rPr lang="en-US" sz="800"/>
              <a:t>The Global Fund to Fight</a:t>
            </a:r>
            <a:br>
              <a:rPr lang="en-GB" sz="800"/>
            </a:br>
            <a:r>
              <a:rPr lang="en-US" sz="800"/>
              <a:t>AIDS, Tuberculosis and Malaria</a:t>
            </a: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a:t>+41 58 791 1700</a:t>
            </a: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u="none">
                <a:solidFill>
                  <a:schemeClr val="tx1"/>
                </a:solidFill>
                <a:hlinkClick r:id="rId3">
                  <a:extLst>
                    <a:ext uri="{A12FA001-AC4F-418D-AE19-62706E023703}">
                      <ahyp:hlinkClr xmlns:ahyp="http://schemas.microsoft.com/office/drawing/2018/hyperlinkcolor" val="tx"/>
                    </a:ext>
                  </a:extLst>
                </a:hlinkClick>
              </a:rPr>
              <a:t>theglobalfund.org</a:t>
            </a:r>
            <a:endParaRPr lang="en-US" sz="800" u="none">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a:t> </a:t>
            </a:r>
            <a:endParaRPr lang="en-US"/>
          </a:p>
          <a:p>
            <a:endParaRPr lang="en-US" sz="800"/>
          </a:p>
        </p:txBody>
      </p:sp>
      <p:pic>
        <p:nvPicPr>
          <p:cNvPr id="6" name="Graphic 5">
            <a:extLst>
              <a:ext uri="{FF2B5EF4-FFF2-40B4-BE49-F238E27FC236}">
                <a16:creationId xmlns:a16="http://schemas.microsoft.com/office/drawing/2014/main" id="{5B1CC8A8-179D-4E05-89A7-90C0DCAD90D2}"/>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0" y="0"/>
            <a:ext cx="12192000" cy="6858000"/>
          </a:xfrm>
          <a:prstGeom prst="rect">
            <a:avLst/>
          </a:prstGeom>
        </p:spPr>
      </p:pic>
      <p:pic>
        <p:nvPicPr>
          <p:cNvPr id="1769958945" name="image" descr="{&quot;templafy&quot;:{&quot;id&quot;:&quot;4194b9f6-3520-4f96-ab49-212cf2595f71&quot;}}"/>
          <p:cNvPicPr>
            <a:picLocks noChangeAspect="1"/>
          </p:cNvPicPr>
          <p:nvPr/>
        </p:nvPicPr>
        <p:blipFill>
          <a:blip r:embed="rId6"/>
          <a:stretch>
            <a:fillRect/>
          </a:stretch>
        </p:blipFill>
        <p:spPr>
          <a:xfrm>
            <a:off x="358775" y="5633832"/>
            <a:ext cx="2253600" cy="290941"/>
          </a:xfrm>
          <a:prstGeom prst="rect">
            <a:avLst/>
          </a:prstGeom>
        </p:spPr>
      </p:pic>
      <p:pic>
        <p:nvPicPr>
          <p:cNvPr id="9" name="Picture 8" hidden="1">
            <a:extLst>
              <a:ext uri="{FF2B5EF4-FFF2-40B4-BE49-F238E27FC236}">
                <a16:creationId xmlns:a16="http://schemas.microsoft.com/office/drawing/2014/main" id="{71A9B043-8960-4857-80C5-FA9FE61DB0CB}"/>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358775" y="5633832"/>
            <a:ext cx="3067377" cy="396000"/>
          </a:xfrm>
          <a:prstGeom prst="rect">
            <a:avLst/>
          </a:prstGeom>
        </p:spPr>
      </p:pic>
    </p:spTree>
    <p:extLst>
      <p:ext uri="{BB962C8B-B14F-4D97-AF65-F5344CB8AC3E}">
        <p14:creationId xmlns:p14="http://schemas.microsoft.com/office/powerpoint/2010/main" val="2274105865"/>
      </p:ext>
    </p:extLst>
  </p:cSld>
  <p:clrMapOvr>
    <a:masterClrMapping/>
  </p:clrMapOvr>
  <p:extLst>
    <p:ext uri="{DCECCB84-F9BA-43D5-87BE-67443E8EF086}">
      <p15:sldGuideLst xmlns:p15="http://schemas.microsoft.com/office/powerpoint/2012/main">
        <p15:guide id="1" orient="horz" pos="170" userDrawn="1">
          <p15:clr>
            <a:srgbClr val="717275"/>
          </p15:clr>
        </p15:guide>
        <p15:guide id="2" orient="horz" pos="762" userDrawn="1">
          <p15:clr>
            <a:srgbClr val="717275"/>
          </p15:clr>
        </p15:guide>
        <p15:guide id="3" orient="horz" pos="1133" userDrawn="1">
          <p15:clr>
            <a:srgbClr val="FF96FF"/>
          </p15:clr>
        </p15:guide>
        <p15:guide id="4" orient="horz" pos="3543" userDrawn="1">
          <p15:clr>
            <a:srgbClr val="FF96FF"/>
          </p15:clr>
        </p15:guide>
        <p15:guide id="5" pos="226" userDrawn="1">
          <p15:clr>
            <a:srgbClr val="FF96FF"/>
          </p15:clr>
        </p15:guide>
        <p15:guide id="6" pos="7453" userDrawn="1">
          <p15:clr>
            <a:srgbClr val="FF96FF"/>
          </p15:clr>
        </p15:guide>
        <p15:guide id="7" orient="horz" pos="4020" userDrawn="1">
          <p15:clr>
            <a:srgbClr val="FF96FF"/>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End 4">
    <p:bg>
      <p:bgPr>
        <a:solidFill>
          <a:schemeClr val="bg1"/>
        </a:solidFill>
        <a:effectLst/>
      </p:bgPr>
    </p:bg>
    <p:spTree>
      <p:nvGrpSpPr>
        <p:cNvPr id="1" name=""/>
        <p:cNvGrpSpPr/>
        <p:nvPr/>
      </p:nvGrpSpPr>
      <p:grpSpPr>
        <a:xfrm>
          <a:off x="0" y="0"/>
          <a:ext cx="0" cy="0"/>
          <a:chOff x="0" y="0"/>
          <a:chExt cx="0" cy="0"/>
        </a:xfrm>
      </p:grpSpPr>
      <p:pic>
        <p:nvPicPr>
          <p:cNvPr id="9" name="Graphic 8">
            <a:extLst>
              <a:ext uri="{FF2B5EF4-FFF2-40B4-BE49-F238E27FC236}">
                <a16:creationId xmlns:a16="http://schemas.microsoft.com/office/drawing/2014/main" id="{AEC42528-88D8-420D-AABE-2B141DA6D0F7}"/>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0" y="0"/>
            <a:ext cx="12192000" cy="6858000"/>
          </a:xfrm>
          <a:prstGeom prst="rect">
            <a:avLst/>
          </a:prstGeom>
        </p:spPr>
      </p:pic>
      <p:sp>
        <p:nvSpPr>
          <p:cNvPr id="7" name="Guides" hidden="1">
            <a:extLst>
              <a:ext uri="{FF2B5EF4-FFF2-40B4-BE49-F238E27FC236}">
                <a16:creationId xmlns:a16="http://schemas.microsoft.com/office/drawing/2014/main" id="{75BAC15C-B945-49BD-AE8D-EB6E4780AD56}"/>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11" name="Text Placeholder 4">
            <a:extLst>
              <a:ext uri="{FF2B5EF4-FFF2-40B4-BE49-F238E27FC236}">
                <a16:creationId xmlns:a16="http://schemas.microsoft.com/office/drawing/2014/main" id="{4A80D473-87BE-4921-9A12-5CE61205864C}"/>
              </a:ext>
            </a:extLst>
          </p:cNvPr>
          <p:cNvSpPr>
            <a:spLocks noGrp="1"/>
          </p:cNvSpPr>
          <p:nvPr>
            <p:ph type="body" sz="quarter" idx="12" hasCustomPrompt="1"/>
          </p:nvPr>
        </p:nvSpPr>
        <p:spPr>
          <a:xfrm>
            <a:off x="358775" y="269876"/>
            <a:ext cx="11474450" cy="1528762"/>
          </a:xfrm>
        </p:spPr>
        <p:txBody>
          <a:bodyPr/>
          <a:lstStyle>
            <a:lvl1pPr marL="0" indent="0">
              <a:buNone/>
              <a:defRPr sz="8800">
                <a:latin typeface="+mj-lt"/>
              </a:defRPr>
            </a:lvl1pPr>
            <a:lvl2pPr marL="0" indent="0">
              <a:buNone/>
              <a:defRPr sz="8800">
                <a:latin typeface="+mj-lt"/>
              </a:defRPr>
            </a:lvl2pPr>
            <a:lvl3pPr marL="0" indent="0">
              <a:buNone/>
              <a:defRPr sz="8800">
                <a:latin typeface="+mj-lt"/>
              </a:defRPr>
            </a:lvl3pPr>
            <a:lvl4pPr marL="0" indent="0">
              <a:buNone/>
              <a:defRPr sz="8800">
                <a:latin typeface="+mj-lt"/>
              </a:defRPr>
            </a:lvl4pPr>
            <a:lvl5pPr marL="0" indent="0">
              <a:buNone/>
              <a:defRPr sz="8800">
                <a:latin typeface="+mj-lt"/>
              </a:defRPr>
            </a:lvl5pPr>
            <a:lvl6pPr marL="0" indent="0">
              <a:buNone/>
              <a:defRPr sz="8800">
                <a:latin typeface="+mj-lt"/>
              </a:defRPr>
            </a:lvl6pPr>
          </a:lstStyle>
          <a:p>
            <a:pPr lvl="0"/>
            <a:r>
              <a:rPr lang="en-US"/>
              <a:t>Add title</a:t>
            </a:r>
          </a:p>
        </p:txBody>
      </p:sp>
      <p:sp>
        <p:nvSpPr>
          <p:cNvPr id="13" name="TextBox 12">
            <a:extLst>
              <a:ext uri="{FF2B5EF4-FFF2-40B4-BE49-F238E27FC236}">
                <a16:creationId xmlns:a16="http://schemas.microsoft.com/office/drawing/2014/main" id="{CED6CFF4-D465-49C4-AA32-61E02E500E02}"/>
              </a:ext>
            </a:extLst>
          </p:cNvPr>
          <p:cNvSpPr txBox="1"/>
          <p:nvPr userDrawn="1"/>
        </p:nvSpPr>
        <p:spPr>
          <a:xfrm>
            <a:off x="3876187" y="5633832"/>
            <a:ext cx="1741715" cy="759890"/>
          </a:xfrm>
          <a:prstGeom prst="rect">
            <a:avLst/>
          </a:prstGeom>
          <a:noFill/>
        </p:spPr>
        <p:txBody>
          <a:bodyPr wrap="square" lIns="0" tIns="0" rIns="0" bIns="0" rtlCol="0">
            <a:noAutofit/>
          </a:bodyPr>
          <a:lstStyle/>
          <a:p>
            <a:pPr>
              <a:spcAft>
                <a:spcPts val="900"/>
              </a:spcAft>
            </a:pPr>
            <a:r>
              <a:rPr lang="en-US" sz="800"/>
              <a:t>The Global Fund to Fight</a:t>
            </a:r>
            <a:br>
              <a:rPr lang="en-GB" sz="800"/>
            </a:br>
            <a:r>
              <a:rPr lang="en-US" sz="800"/>
              <a:t>AIDS, Tuberculosis and Malaria</a:t>
            </a: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a:t>+41 58 791 1700</a:t>
            </a: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u="none">
                <a:solidFill>
                  <a:schemeClr val="tx1"/>
                </a:solidFill>
                <a:hlinkClick r:id="rId5">
                  <a:extLst>
                    <a:ext uri="{A12FA001-AC4F-418D-AE19-62706E023703}">
                      <ahyp:hlinkClr xmlns:ahyp="http://schemas.microsoft.com/office/drawing/2018/hyperlinkcolor" val="tx"/>
                    </a:ext>
                  </a:extLst>
                </a:hlinkClick>
              </a:rPr>
              <a:t>theglobalfund.org</a:t>
            </a:r>
            <a:endParaRPr lang="en-US" sz="800" u="none">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a:t> </a:t>
            </a:r>
            <a:endParaRPr lang="en-US"/>
          </a:p>
          <a:p>
            <a:endParaRPr lang="en-US" sz="800"/>
          </a:p>
        </p:txBody>
      </p:sp>
      <p:pic>
        <p:nvPicPr>
          <p:cNvPr id="1661459789" name="image" descr="{&quot;templafy&quot;:{&quot;id&quot;:&quot;3f6c5e35-80a8-4fc5-94d1-4dfcb2d3b1eb&quot;}}"/>
          <p:cNvPicPr>
            <a:picLocks noChangeAspect="1"/>
          </p:cNvPicPr>
          <p:nvPr/>
        </p:nvPicPr>
        <p:blipFill>
          <a:blip r:embed="rId6"/>
          <a:stretch>
            <a:fillRect/>
          </a:stretch>
        </p:blipFill>
        <p:spPr>
          <a:xfrm>
            <a:off x="358775" y="5633832"/>
            <a:ext cx="2253600" cy="290941"/>
          </a:xfrm>
          <a:prstGeom prst="rect">
            <a:avLst/>
          </a:prstGeom>
        </p:spPr>
      </p:pic>
      <p:pic>
        <p:nvPicPr>
          <p:cNvPr id="10" name="Picture 9" hidden="1">
            <a:extLst>
              <a:ext uri="{FF2B5EF4-FFF2-40B4-BE49-F238E27FC236}">
                <a16:creationId xmlns:a16="http://schemas.microsoft.com/office/drawing/2014/main" id="{8EFD3B2D-CA0E-4BC9-A8E3-70A948B2239D}"/>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358775" y="5633832"/>
            <a:ext cx="3067377" cy="396000"/>
          </a:xfrm>
          <a:prstGeom prst="rect">
            <a:avLst/>
          </a:prstGeom>
        </p:spPr>
      </p:pic>
    </p:spTree>
    <p:extLst>
      <p:ext uri="{BB962C8B-B14F-4D97-AF65-F5344CB8AC3E}">
        <p14:creationId xmlns:p14="http://schemas.microsoft.com/office/powerpoint/2010/main" val="1543813746"/>
      </p:ext>
    </p:extLst>
  </p:cSld>
  <p:clrMapOvr>
    <a:masterClrMapping/>
  </p:clrMapOvr>
  <p:extLst>
    <p:ext uri="{DCECCB84-F9BA-43D5-87BE-67443E8EF086}">
      <p15:sldGuideLst xmlns:p15="http://schemas.microsoft.com/office/powerpoint/2012/main">
        <p15:guide id="1" orient="horz" pos="170" userDrawn="1">
          <p15:clr>
            <a:srgbClr val="717275"/>
          </p15:clr>
        </p15:guide>
        <p15:guide id="2" orient="horz" pos="762" userDrawn="1">
          <p15:clr>
            <a:srgbClr val="717275"/>
          </p15:clr>
        </p15:guide>
        <p15:guide id="3" orient="horz" pos="1133" userDrawn="1">
          <p15:clr>
            <a:srgbClr val="FF96FF"/>
          </p15:clr>
        </p15:guide>
        <p15:guide id="4" orient="horz" pos="3543" userDrawn="1">
          <p15:clr>
            <a:srgbClr val="FF96FF"/>
          </p15:clr>
        </p15:guide>
        <p15:guide id="5" pos="226" userDrawn="1">
          <p15:clr>
            <a:srgbClr val="FF96FF"/>
          </p15:clr>
        </p15:guide>
        <p15:guide id="6" pos="7453" userDrawn="1">
          <p15:clr>
            <a:srgbClr val="FF96FF"/>
          </p15:clr>
        </p15:guide>
        <p15:guide id="7" orient="horz" pos="4020" userDrawn="1">
          <p15:clr>
            <a:srgbClr val="FF96FF"/>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End Expressive">
    <p:bg>
      <p:bgPr>
        <a:solidFill>
          <a:schemeClr val="bg1"/>
        </a:solidFill>
        <a:effectLst/>
      </p:bgPr>
    </p:bg>
    <p:spTree>
      <p:nvGrpSpPr>
        <p:cNvPr id="1" name=""/>
        <p:cNvGrpSpPr/>
        <p:nvPr/>
      </p:nvGrpSpPr>
      <p:grpSpPr>
        <a:xfrm>
          <a:off x="0" y="0"/>
          <a:ext cx="0" cy="0"/>
          <a:chOff x="0" y="0"/>
          <a:chExt cx="0" cy="0"/>
        </a:xfrm>
      </p:grpSpPr>
      <p:pic>
        <p:nvPicPr>
          <p:cNvPr id="9" name="Graphic 8">
            <a:extLst>
              <a:ext uri="{FF2B5EF4-FFF2-40B4-BE49-F238E27FC236}">
                <a16:creationId xmlns:a16="http://schemas.microsoft.com/office/drawing/2014/main" id="{1235D266-659B-40C3-8BD8-8A7B77EFFEA5}"/>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0" y="0"/>
            <a:ext cx="12192000" cy="6858000"/>
          </a:xfrm>
          <a:prstGeom prst="rect">
            <a:avLst/>
          </a:prstGeom>
        </p:spPr>
      </p:pic>
      <p:sp>
        <p:nvSpPr>
          <p:cNvPr id="7" name="Guides" hidden="1">
            <a:extLst>
              <a:ext uri="{FF2B5EF4-FFF2-40B4-BE49-F238E27FC236}">
                <a16:creationId xmlns:a16="http://schemas.microsoft.com/office/drawing/2014/main" id="{75BAC15C-B945-49BD-AE8D-EB6E4780AD56}"/>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17" name="Text Placeholder 4">
            <a:extLst>
              <a:ext uri="{FF2B5EF4-FFF2-40B4-BE49-F238E27FC236}">
                <a16:creationId xmlns:a16="http://schemas.microsoft.com/office/drawing/2014/main" id="{ACA73310-EDD7-4370-88AD-A94D36BEC3A4}"/>
              </a:ext>
            </a:extLst>
          </p:cNvPr>
          <p:cNvSpPr>
            <a:spLocks noGrp="1"/>
          </p:cNvSpPr>
          <p:nvPr>
            <p:ph type="body" sz="quarter" idx="12" hasCustomPrompt="1"/>
          </p:nvPr>
        </p:nvSpPr>
        <p:spPr>
          <a:xfrm>
            <a:off x="358775" y="269877"/>
            <a:ext cx="11474450" cy="1528762"/>
          </a:xfrm>
        </p:spPr>
        <p:txBody>
          <a:bodyPr/>
          <a:lstStyle>
            <a:lvl1pPr marL="0" indent="0">
              <a:buNone/>
              <a:defRPr sz="8800">
                <a:solidFill>
                  <a:schemeClr val="bg1"/>
                </a:solidFill>
                <a:latin typeface="+mj-lt"/>
              </a:defRPr>
            </a:lvl1pPr>
            <a:lvl2pPr marL="0" indent="0">
              <a:buNone/>
              <a:defRPr sz="8800">
                <a:latin typeface="+mj-lt"/>
              </a:defRPr>
            </a:lvl2pPr>
            <a:lvl3pPr marL="0" indent="0">
              <a:buNone/>
              <a:defRPr sz="8800">
                <a:latin typeface="+mj-lt"/>
              </a:defRPr>
            </a:lvl3pPr>
            <a:lvl4pPr marL="0" indent="0">
              <a:buNone/>
              <a:defRPr sz="8800">
                <a:latin typeface="+mj-lt"/>
              </a:defRPr>
            </a:lvl4pPr>
            <a:lvl5pPr marL="0" indent="0">
              <a:buNone/>
              <a:defRPr sz="8800">
                <a:latin typeface="+mj-lt"/>
              </a:defRPr>
            </a:lvl5pPr>
            <a:lvl6pPr marL="0" indent="0">
              <a:buNone/>
              <a:defRPr sz="8800">
                <a:latin typeface="+mj-lt"/>
              </a:defRPr>
            </a:lvl6pPr>
          </a:lstStyle>
          <a:p>
            <a:pPr lvl="0"/>
            <a:r>
              <a:rPr lang="en-US"/>
              <a:t>Add title</a:t>
            </a:r>
          </a:p>
        </p:txBody>
      </p:sp>
      <p:sp>
        <p:nvSpPr>
          <p:cNvPr id="11" name="TextBox 10">
            <a:extLst>
              <a:ext uri="{FF2B5EF4-FFF2-40B4-BE49-F238E27FC236}">
                <a16:creationId xmlns:a16="http://schemas.microsoft.com/office/drawing/2014/main" id="{BDD4E985-E71F-463E-A5D2-7805115D9398}"/>
              </a:ext>
            </a:extLst>
          </p:cNvPr>
          <p:cNvSpPr txBox="1"/>
          <p:nvPr userDrawn="1"/>
        </p:nvSpPr>
        <p:spPr>
          <a:xfrm>
            <a:off x="3876187" y="5633832"/>
            <a:ext cx="1741715" cy="759890"/>
          </a:xfrm>
          <a:prstGeom prst="rect">
            <a:avLst/>
          </a:prstGeom>
          <a:noFill/>
        </p:spPr>
        <p:txBody>
          <a:bodyPr wrap="square" lIns="0" tIns="0" rIns="0" bIns="0" rtlCol="0">
            <a:noAutofit/>
          </a:bodyPr>
          <a:lstStyle/>
          <a:p>
            <a:pPr>
              <a:spcAft>
                <a:spcPts val="900"/>
              </a:spcAft>
            </a:pPr>
            <a:r>
              <a:rPr lang="en-US" sz="800"/>
              <a:t>The Global Fund to Fight</a:t>
            </a:r>
            <a:br>
              <a:rPr lang="en-GB" sz="800"/>
            </a:br>
            <a:r>
              <a:rPr lang="en-US" sz="800"/>
              <a:t>AIDS, Tuberculosis and Malaria</a:t>
            </a: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a:t>+41 58 791 1700</a:t>
            </a: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u="none">
                <a:solidFill>
                  <a:schemeClr val="tx1"/>
                </a:solidFill>
                <a:hlinkClick r:id="rId5">
                  <a:extLst>
                    <a:ext uri="{A12FA001-AC4F-418D-AE19-62706E023703}">
                      <ahyp:hlinkClr xmlns:ahyp="http://schemas.microsoft.com/office/drawing/2018/hyperlinkcolor" val="tx"/>
                    </a:ext>
                  </a:extLst>
                </a:hlinkClick>
              </a:rPr>
              <a:t>theglobalfund.org</a:t>
            </a:r>
            <a:endParaRPr lang="en-US" sz="800" u="none">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a:t> </a:t>
            </a:r>
            <a:endParaRPr lang="en-US"/>
          </a:p>
          <a:p>
            <a:endParaRPr lang="en-US" sz="800"/>
          </a:p>
        </p:txBody>
      </p:sp>
      <p:pic>
        <p:nvPicPr>
          <p:cNvPr id="1196065028" name="image" descr="{&quot;templafy&quot;:{&quot;id&quot;:&quot;f7f80f17-fc21-4ed3-8524-16f3692dcd89&quot;}}"/>
          <p:cNvPicPr>
            <a:picLocks noChangeAspect="1"/>
          </p:cNvPicPr>
          <p:nvPr/>
        </p:nvPicPr>
        <p:blipFill>
          <a:blip r:embed="rId6"/>
          <a:stretch>
            <a:fillRect/>
          </a:stretch>
        </p:blipFill>
        <p:spPr>
          <a:xfrm>
            <a:off x="358775" y="5633832"/>
            <a:ext cx="2253600" cy="290941"/>
          </a:xfrm>
          <a:prstGeom prst="rect">
            <a:avLst/>
          </a:prstGeom>
        </p:spPr>
      </p:pic>
      <p:pic>
        <p:nvPicPr>
          <p:cNvPr id="10" name="Picture 9" hidden="1">
            <a:extLst>
              <a:ext uri="{FF2B5EF4-FFF2-40B4-BE49-F238E27FC236}">
                <a16:creationId xmlns:a16="http://schemas.microsoft.com/office/drawing/2014/main" id="{6424CF1F-3B8C-4B67-B264-01201D848253}"/>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358775" y="5633832"/>
            <a:ext cx="3067377" cy="396000"/>
          </a:xfrm>
          <a:prstGeom prst="rect">
            <a:avLst/>
          </a:prstGeom>
        </p:spPr>
      </p:pic>
    </p:spTree>
    <p:extLst>
      <p:ext uri="{BB962C8B-B14F-4D97-AF65-F5344CB8AC3E}">
        <p14:creationId xmlns:p14="http://schemas.microsoft.com/office/powerpoint/2010/main" val="441562983"/>
      </p:ext>
    </p:extLst>
  </p:cSld>
  <p:clrMapOvr>
    <a:masterClrMapping/>
  </p:clrMapOvr>
  <p:extLst>
    <p:ext uri="{DCECCB84-F9BA-43D5-87BE-67443E8EF086}">
      <p15:sldGuideLst xmlns:p15="http://schemas.microsoft.com/office/powerpoint/2012/main">
        <p15:guide id="1" orient="horz" pos="170" userDrawn="1">
          <p15:clr>
            <a:srgbClr val="717275"/>
          </p15:clr>
        </p15:guide>
        <p15:guide id="2" orient="horz" pos="762" userDrawn="1">
          <p15:clr>
            <a:srgbClr val="717275"/>
          </p15:clr>
        </p15:guide>
        <p15:guide id="3" orient="horz" pos="1133" userDrawn="1">
          <p15:clr>
            <a:srgbClr val="FF96FF"/>
          </p15:clr>
        </p15:guide>
        <p15:guide id="4" orient="horz" pos="3543" userDrawn="1">
          <p15:clr>
            <a:srgbClr val="FF96FF"/>
          </p15:clr>
        </p15:guide>
        <p15:guide id="5" pos="226" userDrawn="1">
          <p15:clr>
            <a:srgbClr val="FF96FF"/>
          </p15:clr>
        </p15:guide>
        <p15:guide id="6" pos="7453" userDrawn="1">
          <p15:clr>
            <a:srgbClr val="FF96FF"/>
          </p15:clr>
        </p15:guide>
        <p15:guide id="7" orient="horz" pos="4020" userDrawn="1">
          <p15:clr>
            <a:srgbClr val="FF96FF"/>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End 2">
    <p:bg>
      <p:bgPr>
        <a:solidFill>
          <a:schemeClr val="bg1"/>
        </a:solidFill>
        <a:effectLst/>
      </p:bgPr>
    </p:bg>
    <p:spTree>
      <p:nvGrpSpPr>
        <p:cNvPr id="1" name=""/>
        <p:cNvGrpSpPr/>
        <p:nvPr/>
      </p:nvGrpSpPr>
      <p:grpSpPr>
        <a:xfrm>
          <a:off x="0" y="0"/>
          <a:ext cx="0" cy="0"/>
          <a:chOff x="0" y="0"/>
          <a:chExt cx="0" cy="0"/>
        </a:xfrm>
      </p:grpSpPr>
      <p:pic>
        <p:nvPicPr>
          <p:cNvPr id="11" name="Graphic 10">
            <a:extLst>
              <a:ext uri="{FF2B5EF4-FFF2-40B4-BE49-F238E27FC236}">
                <a16:creationId xmlns:a16="http://schemas.microsoft.com/office/drawing/2014/main" id="{B7B44933-F307-4411-8D48-0B57B30565FF}"/>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flipV="1">
            <a:off x="76200" y="34890"/>
            <a:ext cx="12049125" cy="6788220"/>
          </a:xfrm>
          <a:prstGeom prst="rect">
            <a:avLst/>
          </a:prstGeom>
        </p:spPr>
      </p:pic>
      <p:sp>
        <p:nvSpPr>
          <p:cNvPr id="7" name="Guides" hidden="1">
            <a:extLst>
              <a:ext uri="{FF2B5EF4-FFF2-40B4-BE49-F238E27FC236}">
                <a16:creationId xmlns:a16="http://schemas.microsoft.com/office/drawing/2014/main" id="{75BAC15C-B945-49BD-AE8D-EB6E4780AD56}"/>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10" name="Text Placeholder 4">
            <a:extLst>
              <a:ext uri="{FF2B5EF4-FFF2-40B4-BE49-F238E27FC236}">
                <a16:creationId xmlns:a16="http://schemas.microsoft.com/office/drawing/2014/main" id="{789ECC92-A128-4CDE-8B97-635C44BBBF57}"/>
              </a:ext>
            </a:extLst>
          </p:cNvPr>
          <p:cNvSpPr>
            <a:spLocks noGrp="1"/>
          </p:cNvSpPr>
          <p:nvPr>
            <p:ph type="body" sz="quarter" idx="12" hasCustomPrompt="1"/>
          </p:nvPr>
        </p:nvSpPr>
        <p:spPr>
          <a:xfrm>
            <a:off x="358775" y="1557338"/>
            <a:ext cx="11474450" cy="1728787"/>
          </a:xfrm>
        </p:spPr>
        <p:txBody>
          <a:bodyPr/>
          <a:lstStyle>
            <a:lvl1pPr marL="0" indent="0">
              <a:buNone/>
              <a:defRPr sz="8800">
                <a:latin typeface="+mj-lt"/>
              </a:defRPr>
            </a:lvl1pPr>
            <a:lvl2pPr marL="0" indent="0">
              <a:buNone/>
              <a:defRPr sz="8800">
                <a:latin typeface="+mj-lt"/>
              </a:defRPr>
            </a:lvl2pPr>
            <a:lvl3pPr marL="0" indent="0">
              <a:buNone/>
              <a:defRPr sz="8800">
                <a:latin typeface="+mj-lt"/>
              </a:defRPr>
            </a:lvl3pPr>
            <a:lvl4pPr marL="0" indent="0">
              <a:buNone/>
              <a:defRPr sz="8800">
                <a:latin typeface="+mj-lt"/>
              </a:defRPr>
            </a:lvl4pPr>
            <a:lvl5pPr marL="0" indent="0">
              <a:buNone/>
              <a:defRPr sz="8800">
                <a:latin typeface="+mj-lt"/>
              </a:defRPr>
            </a:lvl5pPr>
            <a:lvl6pPr marL="0" indent="0">
              <a:buNone/>
              <a:defRPr sz="8800">
                <a:latin typeface="+mj-lt"/>
              </a:defRPr>
            </a:lvl6pPr>
          </a:lstStyle>
          <a:p>
            <a:pPr lvl="0"/>
            <a:r>
              <a:rPr lang="en-US"/>
              <a:t>Add title</a:t>
            </a:r>
          </a:p>
        </p:txBody>
      </p:sp>
      <p:sp>
        <p:nvSpPr>
          <p:cNvPr id="14" name="TextBox 13">
            <a:extLst>
              <a:ext uri="{FF2B5EF4-FFF2-40B4-BE49-F238E27FC236}">
                <a16:creationId xmlns:a16="http://schemas.microsoft.com/office/drawing/2014/main" id="{E38C1E33-0E03-4092-A13C-B799FA398BC0}"/>
              </a:ext>
            </a:extLst>
          </p:cNvPr>
          <p:cNvSpPr txBox="1"/>
          <p:nvPr userDrawn="1"/>
        </p:nvSpPr>
        <p:spPr>
          <a:xfrm>
            <a:off x="3876187" y="5633832"/>
            <a:ext cx="1741715" cy="759890"/>
          </a:xfrm>
          <a:prstGeom prst="rect">
            <a:avLst/>
          </a:prstGeom>
          <a:noFill/>
        </p:spPr>
        <p:txBody>
          <a:bodyPr wrap="square" lIns="0" tIns="0" rIns="0" bIns="0" rtlCol="0">
            <a:noAutofit/>
          </a:bodyPr>
          <a:lstStyle/>
          <a:p>
            <a:pPr>
              <a:spcAft>
                <a:spcPts val="900"/>
              </a:spcAft>
            </a:pPr>
            <a:r>
              <a:rPr lang="en-US" sz="800"/>
              <a:t>The Global Fund to Fight</a:t>
            </a:r>
            <a:br>
              <a:rPr lang="en-GB" sz="800"/>
            </a:br>
            <a:r>
              <a:rPr lang="en-US" sz="800"/>
              <a:t>AIDS, Tuberculosis and Malaria</a:t>
            </a: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a:t>+41 58 791 1700</a:t>
            </a: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u="none">
                <a:solidFill>
                  <a:schemeClr val="tx1"/>
                </a:solidFill>
                <a:hlinkClick r:id="rId5">
                  <a:extLst>
                    <a:ext uri="{A12FA001-AC4F-418D-AE19-62706E023703}">
                      <ahyp:hlinkClr xmlns:ahyp="http://schemas.microsoft.com/office/drawing/2018/hyperlinkcolor" val="tx"/>
                    </a:ext>
                  </a:extLst>
                </a:hlinkClick>
              </a:rPr>
              <a:t>theglobalfund.org</a:t>
            </a:r>
            <a:endParaRPr lang="en-US" sz="800" u="none">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a:t> </a:t>
            </a:r>
            <a:endParaRPr lang="en-US"/>
          </a:p>
          <a:p>
            <a:endParaRPr lang="en-US" sz="800"/>
          </a:p>
        </p:txBody>
      </p:sp>
      <p:pic>
        <p:nvPicPr>
          <p:cNvPr id="1212926532" name="image" descr="{&quot;templafy&quot;:{&quot;id&quot;:&quot;1ca28c29-eb4d-48e9-8c4c-fbe7c10d2377&quot;}}"/>
          <p:cNvPicPr>
            <a:picLocks noChangeAspect="1"/>
          </p:cNvPicPr>
          <p:nvPr/>
        </p:nvPicPr>
        <p:blipFill>
          <a:blip r:embed="rId6"/>
          <a:stretch>
            <a:fillRect/>
          </a:stretch>
        </p:blipFill>
        <p:spPr>
          <a:xfrm>
            <a:off x="358775" y="5633832"/>
            <a:ext cx="2253600" cy="290941"/>
          </a:xfrm>
          <a:prstGeom prst="rect">
            <a:avLst/>
          </a:prstGeom>
        </p:spPr>
      </p:pic>
      <p:pic>
        <p:nvPicPr>
          <p:cNvPr id="3" name="Picture 2" hidden="1">
            <a:extLst>
              <a:ext uri="{FF2B5EF4-FFF2-40B4-BE49-F238E27FC236}">
                <a16:creationId xmlns:a16="http://schemas.microsoft.com/office/drawing/2014/main" id="{DC7F089C-D76B-4819-A83A-8871BAFA1B11}"/>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358775" y="5633832"/>
            <a:ext cx="3067377" cy="396000"/>
          </a:xfrm>
          <a:prstGeom prst="rect">
            <a:avLst/>
          </a:prstGeom>
        </p:spPr>
      </p:pic>
    </p:spTree>
    <p:extLst>
      <p:ext uri="{BB962C8B-B14F-4D97-AF65-F5344CB8AC3E}">
        <p14:creationId xmlns:p14="http://schemas.microsoft.com/office/powerpoint/2010/main" val="1488188693"/>
      </p:ext>
    </p:extLst>
  </p:cSld>
  <p:clrMapOvr>
    <a:masterClrMapping/>
  </p:clrMapOvr>
  <p:extLst>
    <p:ext uri="{DCECCB84-F9BA-43D5-87BE-67443E8EF086}">
      <p15:sldGuideLst xmlns:p15="http://schemas.microsoft.com/office/powerpoint/2012/main">
        <p15:guide id="1" orient="horz" pos="170" userDrawn="1">
          <p15:clr>
            <a:srgbClr val="717275"/>
          </p15:clr>
        </p15:guide>
        <p15:guide id="2" orient="horz" pos="762" userDrawn="1">
          <p15:clr>
            <a:srgbClr val="717275"/>
          </p15:clr>
        </p15:guide>
        <p15:guide id="3" orient="horz" pos="1133" userDrawn="1">
          <p15:clr>
            <a:srgbClr val="FF96FF"/>
          </p15:clr>
        </p15:guide>
        <p15:guide id="4" orient="horz" pos="3543" userDrawn="1">
          <p15:clr>
            <a:srgbClr val="FF96FF"/>
          </p15:clr>
        </p15:guide>
        <p15:guide id="5" pos="226" userDrawn="1">
          <p15:clr>
            <a:srgbClr val="FF96FF"/>
          </p15:clr>
        </p15:guide>
        <p15:guide id="6" pos="7453" userDrawn="1">
          <p15:clr>
            <a:srgbClr val="FF96FF"/>
          </p15:clr>
        </p15:guide>
        <p15:guide id="7" orient="horz" pos="4020" userDrawn="1">
          <p15:clr>
            <a:srgbClr val="FF96FF"/>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itle 5">
    <p:bg>
      <p:bgPr>
        <a:solidFill>
          <a:schemeClr val="bg1"/>
        </a:solidFill>
        <a:effectLst/>
      </p:bgPr>
    </p:bg>
    <p:spTree>
      <p:nvGrpSpPr>
        <p:cNvPr id="1" name=""/>
        <p:cNvGrpSpPr/>
        <p:nvPr/>
      </p:nvGrpSpPr>
      <p:grpSpPr>
        <a:xfrm>
          <a:off x="0" y="0"/>
          <a:ext cx="0" cy="0"/>
          <a:chOff x="0" y="0"/>
          <a:chExt cx="0" cy="0"/>
        </a:xfrm>
      </p:grpSpPr>
      <p:pic>
        <p:nvPicPr>
          <p:cNvPr id="16" name="Graphic 15">
            <a:extLst>
              <a:ext uri="{FF2B5EF4-FFF2-40B4-BE49-F238E27FC236}">
                <a16:creationId xmlns:a16="http://schemas.microsoft.com/office/drawing/2014/main" id="{E2B16E6D-59F7-4872-A428-2EF0EB00AC6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DE5BBB5A-E909-4B98-99CC-B3F2B12EF9E8}"/>
              </a:ext>
            </a:extLst>
          </p:cNvPr>
          <p:cNvSpPr>
            <a:spLocks noGrp="1"/>
          </p:cNvSpPr>
          <p:nvPr>
            <p:ph type="ctrTitle" hasCustomPrompt="1"/>
          </p:nvPr>
        </p:nvSpPr>
        <p:spPr>
          <a:xfrm>
            <a:off x="358774" y="1798637"/>
            <a:ext cx="6138279" cy="2173288"/>
          </a:xfrm>
        </p:spPr>
        <p:txBody>
          <a:bodyPr anchor="ctr" anchorCtr="0">
            <a:noAutofit/>
          </a:bodyPr>
          <a:lstStyle>
            <a:lvl1pPr algn="l">
              <a:defRPr sz="4800">
                <a:solidFill>
                  <a:schemeClr val="bg1"/>
                </a:solidFill>
              </a:defRPr>
            </a:lvl1pPr>
          </a:lstStyle>
          <a:p>
            <a:r>
              <a:rPr lang="en-US"/>
              <a:t>Add title</a:t>
            </a:r>
          </a:p>
        </p:txBody>
      </p:sp>
      <p:sp>
        <p:nvSpPr>
          <p:cNvPr id="7" name="Guides" hidden="1">
            <a:extLst>
              <a:ext uri="{FF2B5EF4-FFF2-40B4-BE49-F238E27FC236}">
                <a16:creationId xmlns:a16="http://schemas.microsoft.com/office/drawing/2014/main" id="{25E35409-37AF-410A-BB15-B1EDB639D7DA}"/>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9" name="Text Placeholder 4">
            <a:extLst>
              <a:ext uri="{FF2B5EF4-FFF2-40B4-BE49-F238E27FC236}">
                <a16:creationId xmlns:a16="http://schemas.microsoft.com/office/drawing/2014/main" id="{86B62067-628B-460A-AB62-DBF00E5836E6}"/>
              </a:ext>
            </a:extLst>
          </p:cNvPr>
          <p:cNvSpPr>
            <a:spLocks noGrp="1"/>
          </p:cNvSpPr>
          <p:nvPr>
            <p:ph type="body" sz="quarter" idx="11" hasCustomPrompt="1"/>
          </p:nvPr>
        </p:nvSpPr>
        <p:spPr>
          <a:xfrm>
            <a:off x="358775" y="4392000"/>
            <a:ext cx="6147903" cy="1620000"/>
          </a:xfrm>
        </p:spPr>
        <p:txBody>
          <a:bodyPr/>
          <a:lstStyle>
            <a:lvl1pPr marL="0" indent="0">
              <a:buNone/>
              <a:defRPr sz="4800">
                <a:solidFill>
                  <a:schemeClr val="bg1"/>
                </a:solidFill>
                <a:latin typeface="+mn-lt"/>
              </a:defRPr>
            </a:lvl1pPr>
            <a:lvl2pPr marL="0" indent="0">
              <a:buNone/>
              <a:defRPr sz="4800">
                <a:latin typeface="+mn-lt"/>
              </a:defRPr>
            </a:lvl2pPr>
            <a:lvl3pPr marL="0" indent="0">
              <a:buNone/>
              <a:defRPr sz="4800">
                <a:latin typeface="+mn-lt"/>
              </a:defRPr>
            </a:lvl3pPr>
            <a:lvl4pPr marL="0" indent="0">
              <a:buNone/>
              <a:defRPr sz="4800">
                <a:latin typeface="+mn-lt"/>
              </a:defRPr>
            </a:lvl4pPr>
            <a:lvl5pPr marL="0" indent="0">
              <a:buNone/>
              <a:defRPr sz="4800">
                <a:latin typeface="+mn-lt"/>
              </a:defRPr>
            </a:lvl5pPr>
            <a:lvl6pPr marL="0" indent="0">
              <a:buNone/>
              <a:defRPr sz="4800"/>
            </a:lvl6pPr>
          </a:lstStyle>
          <a:p>
            <a:pPr lvl="0"/>
            <a:r>
              <a:rPr lang="en-US"/>
              <a:t>Add subtitle or date</a:t>
            </a:r>
          </a:p>
        </p:txBody>
      </p:sp>
      <p:pic>
        <p:nvPicPr>
          <p:cNvPr id="2006988" name="image" descr="{&quot;templafy&quot;:{&quot;id&quot;:&quot;914c8a6c-cd0a-4479-ab25-74b431cff195&quot;}}"/>
          <p:cNvPicPr>
            <a:picLocks noChangeAspect="1"/>
          </p:cNvPicPr>
          <p:nvPr/>
        </p:nvPicPr>
        <p:blipFill>
          <a:blip r:embed="rId5"/>
          <a:stretch>
            <a:fillRect/>
          </a:stretch>
        </p:blipFill>
        <p:spPr>
          <a:xfrm>
            <a:off x="358774" y="269875"/>
            <a:ext cx="2253600" cy="290941"/>
          </a:xfrm>
          <a:prstGeom prst="rect">
            <a:avLst/>
          </a:prstGeom>
        </p:spPr>
      </p:pic>
      <p:pic>
        <p:nvPicPr>
          <p:cNvPr id="4" name="Picture 3" descr="Text&#10;&#10;Description automatically generated" hidden="1">
            <a:extLst>
              <a:ext uri="{FF2B5EF4-FFF2-40B4-BE49-F238E27FC236}">
                <a16:creationId xmlns:a16="http://schemas.microsoft.com/office/drawing/2014/main" id="{EA75DA9E-7125-42A0-94C7-9CFABB9C59F3}"/>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358774" y="431875"/>
            <a:ext cx="4740492" cy="612000"/>
          </a:xfrm>
          <a:prstGeom prst="rect">
            <a:avLst/>
          </a:prstGeom>
        </p:spPr>
      </p:pic>
    </p:spTree>
    <p:extLst>
      <p:ext uri="{BB962C8B-B14F-4D97-AF65-F5344CB8AC3E}">
        <p14:creationId xmlns:p14="http://schemas.microsoft.com/office/powerpoint/2010/main" val="2250126060"/>
      </p:ext>
    </p:extLst>
  </p:cSld>
  <p:clrMapOvr>
    <a:masterClrMapping/>
  </p:clrMapOvr>
  <p:extLst>
    <p:ext uri="{DCECCB84-F9BA-43D5-87BE-67443E8EF086}">
      <p15:sldGuideLst xmlns:p15="http://schemas.microsoft.com/office/powerpoint/2012/main">
        <p15:guide id="1" orient="horz" pos="170" userDrawn="1">
          <p15:clr>
            <a:srgbClr val="717275"/>
          </p15:clr>
        </p15:guide>
        <p15:guide id="2" orient="horz" pos="762" userDrawn="1">
          <p15:clr>
            <a:srgbClr val="717275"/>
          </p15:clr>
        </p15:guide>
        <p15:guide id="3" orient="horz" pos="1133" userDrawn="1">
          <p15:clr>
            <a:srgbClr val="FF96FF"/>
          </p15:clr>
        </p15:guide>
        <p15:guide id="4" orient="horz" pos="3753" userDrawn="1">
          <p15:clr>
            <a:srgbClr val="FF96FF"/>
          </p15:clr>
        </p15:guide>
        <p15:guide id="5" pos="234" userDrawn="1">
          <p15:clr>
            <a:srgbClr val="FF96FF"/>
          </p15:clr>
        </p15:guide>
        <p15:guide id="6" pos="2544" userDrawn="1">
          <p15:clr>
            <a:srgbClr val="FF96FF"/>
          </p15:clr>
        </p15:guide>
        <p15:guide id="7" pos="2683" userDrawn="1">
          <p15:clr>
            <a:srgbClr val="FF96FF"/>
          </p15:clr>
        </p15:guide>
        <p15:guide id="8" pos="4999" userDrawn="1">
          <p15:clr>
            <a:srgbClr val="FF96FF"/>
          </p15:clr>
        </p15:guide>
        <p15:guide id="9" pos="5135" userDrawn="1">
          <p15:clr>
            <a:srgbClr val="FF96FF"/>
          </p15:clr>
        </p15:guide>
        <p15:guide id="10" pos="7453" userDrawn="1">
          <p15:clr>
            <a:srgbClr val="FF96FF"/>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End 3">
    <p:bg>
      <p:bgPr>
        <a:solidFill>
          <a:schemeClr val="bg1"/>
        </a:solidFill>
        <a:effectLst/>
      </p:bgPr>
    </p:bg>
    <p:spTree>
      <p:nvGrpSpPr>
        <p:cNvPr id="1" name=""/>
        <p:cNvGrpSpPr/>
        <p:nvPr/>
      </p:nvGrpSpPr>
      <p:grpSpPr>
        <a:xfrm>
          <a:off x="0" y="0"/>
          <a:ext cx="0" cy="0"/>
          <a:chOff x="0" y="0"/>
          <a:chExt cx="0" cy="0"/>
        </a:xfrm>
      </p:grpSpPr>
      <p:sp>
        <p:nvSpPr>
          <p:cNvPr id="7" name="Guides" hidden="1">
            <a:extLst>
              <a:ext uri="{FF2B5EF4-FFF2-40B4-BE49-F238E27FC236}">
                <a16:creationId xmlns:a16="http://schemas.microsoft.com/office/drawing/2014/main" id="{75BAC15C-B945-49BD-AE8D-EB6E4780AD56}"/>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11" name="Text Placeholder 4">
            <a:extLst>
              <a:ext uri="{FF2B5EF4-FFF2-40B4-BE49-F238E27FC236}">
                <a16:creationId xmlns:a16="http://schemas.microsoft.com/office/drawing/2014/main" id="{4A80D473-87BE-4921-9A12-5CE61205864C}"/>
              </a:ext>
            </a:extLst>
          </p:cNvPr>
          <p:cNvSpPr>
            <a:spLocks noGrp="1"/>
          </p:cNvSpPr>
          <p:nvPr>
            <p:ph type="body" sz="quarter" idx="12" hasCustomPrompt="1"/>
          </p:nvPr>
        </p:nvSpPr>
        <p:spPr>
          <a:xfrm>
            <a:off x="358775" y="269876"/>
            <a:ext cx="11474450" cy="1528762"/>
          </a:xfrm>
        </p:spPr>
        <p:txBody>
          <a:bodyPr/>
          <a:lstStyle>
            <a:lvl1pPr marL="0" indent="0">
              <a:buNone/>
              <a:defRPr sz="8800">
                <a:latin typeface="+mj-lt"/>
              </a:defRPr>
            </a:lvl1pPr>
            <a:lvl2pPr marL="0" indent="0">
              <a:buNone/>
              <a:defRPr sz="8800">
                <a:latin typeface="+mj-lt"/>
              </a:defRPr>
            </a:lvl2pPr>
            <a:lvl3pPr marL="0" indent="0">
              <a:buNone/>
              <a:defRPr sz="8800">
                <a:latin typeface="+mj-lt"/>
              </a:defRPr>
            </a:lvl3pPr>
            <a:lvl4pPr marL="0" indent="0">
              <a:buNone/>
              <a:defRPr sz="8800">
                <a:latin typeface="+mj-lt"/>
              </a:defRPr>
            </a:lvl4pPr>
            <a:lvl5pPr marL="0" indent="0">
              <a:buNone/>
              <a:defRPr sz="8800">
                <a:latin typeface="+mj-lt"/>
              </a:defRPr>
            </a:lvl5pPr>
            <a:lvl6pPr marL="0" indent="0">
              <a:buNone/>
              <a:defRPr sz="8800">
                <a:latin typeface="+mj-lt"/>
              </a:defRPr>
            </a:lvl6pPr>
          </a:lstStyle>
          <a:p>
            <a:pPr lvl="0"/>
            <a:r>
              <a:rPr lang="en-US"/>
              <a:t>Add title</a:t>
            </a:r>
          </a:p>
        </p:txBody>
      </p:sp>
      <p:sp>
        <p:nvSpPr>
          <p:cNvPr id="13" name="TextBox 12">
            <a:extLst>
              <a:ext uri="{FF2B5EF4-FFF2-40B4-BE49-F238E27FC236}">
                <a16:creationId xmlns:a16="http://schemas.microsoft.com/office/drawing/2014/main" id="{CED6CFF4-D465-49C4-AA32-61E02E500E02}"/>
              </a:ext>
            </a:extLst>
          </p:cNvPr>
          <p:cNvSpPr txBox="1"/>
          <p:nvPr userDrawn="1"/>
        </p:nvSpPr>
        <p:spPr>
          <a:xfrm>
            <a:off x="3795977" y="5633832"/>
            <a:ext cx="1741715" cy="759890"/>
          </a:xfrm>
          <a:prstGeom prst="rect">
            <a:avLst/>
          </a:prstGeom>
          <a:noFill/>
        </p:spPr>
        <p:txBody>
          <a:bodyPr wrap="square" lIns="0" tIns="0" rIns="0" bIns="0" rtlCol="0">
            <a:noAutofit/>
          </a:bodyPr>
          <a:lstStyle/>
          <a:p>
            <a:pPr>
              <a:spcAft>
                <a:spcPts val="900"/>
              </a:spcAft>
            </a:pPr>
            <a:r>
              <a:rPr lang="en-US" sz="800"/>
              <a:t>The Global Fund to Fight</a:t>
            </a:r>
            <a:br>
              <a:rPr lang="en-GB" sz="800"/>
            </a:br>
            <a:r>
              <a:rPr lang="en-US" sz="800"/>
              <a:t>AIDS, Tuberculosis and Malaria</a:t>
            </a: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a:t>+41 58 791 1700</a:t>
            </a: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u="none">
                <a:solidFill>
                  <a:schemeClr val="tx1"/>
                </a:solidFill>
                <a:hlinkClick r:id="rId3">
                  <a:extLst>
                    <a:ext uri="{A12FA001-AC4F-418D-AE19-62706E023703}">
                      <ahyp:hlinkClr xmlns:ahyp="http://schemas.microsoft.com/office/drawing/2018/hyperlinkcolor" val="tx"/>
                    </a:ext>
                  </a:extLst>
                </a:hlinkClick>
              </a:rPr>
              <a:t>theglobalfund.org</a:t>
            </a:r>
            <a:endParaRPr lang="en-US" sz="800" u="none">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a:t> </a:t>
            </a:r>
            <a:endParaRPr lang="en-US"/>
          </a:p>
          <a:p>
            <a:endParaRPr lang="en-US" sz="800"/>
          </a:p>
        </p:txBody>
      </p:sp>
      <p:pic>
        <p:nvPicPr>
          <p:cNvPr id="6" name="Graphic 5">
            <a:extLst>
              <a:ext uri="{FF2B5EF4-FFF2-40B4-BE49-F238E27FC236}">
                <a16:creationId xmlns:a16="http://schemas.microsoft.com/office/drawing/2014/main" id="{5B1CC8A8-179D-4E05-89A7-90C0DCAD90D2}"/>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0" y="0"/>
            <a:ext cx="12192000" cy="6858000"/>
          </a:xfrm>
          <a:prstGeom prst="rect">
            <a:avLst/>
          </a:prstGeom>
        </p:spPr>
      </p:pic>
      <p:pic>
        <p:nvPicPr>
          <p:cNvPr id="1769958945" name="image" descr="{&quot;templafy&quot;:{&quot;id&quot;:&quot;4194b9f6-3520-4f96-ab49-212cf2595f71&quot;}}"/>
          <p:cNvPicPr>
            <a:picLocks noChangeAspect="1"/>
          </p:cNvPicPr>
          <p:nvPr/>
        </p:nvPicPr>
        <p:blipFill>
          <a:blip r:embed="rId6"/>
          <a:stretch>
            <a:fillRect/>
          </a:stretch>
        </p:blipFill>
        <p:spPr>
          <a:xfrm>
            <a:off x="358775" y="5633832"/>
            <a:ext cx="2253600" cy="290941"/>
          </a:xfrm>
          <a:prstGeom prst="rect">
            <a:avLst/>
          </a:prstGeom>
        </p:spPr>
      </p:pic>
      <p:pic>
        <p:nvPicPr>
          <p:cNvPr id="9" name="Picture 8" hidden="1">
            <a:extLst>
              <a:ext uri="{FF2B5EF4-FFF2-40B4-BE49-F238E27FC236}">
                <a16:creationId xmlns:a16="http://schemas.microsoft.com/office/drawing/2014/main" id="{71A9B043-8960-4857-80C5-FA9FE61DB0CB}"/>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358775" y="5633832"/>
            <a:ext cx="3067377" cy="396000"/>
          </a:xfrm>
          <a:prstGeom prst="rect">
            <a:avLst/>
          </a:prstGeom>
        </p:spPr>
      </p:pic>
    </p:spTree>
    <p:extLst>
      <p:ext uri="{BB962C8B-B14F-4D97-AF65-F5344CB8AC3E}">
        <p14:creationId xmlns:p14="http://schemas.microsoft.com/office/powerpoint/2010/main" val="2274105865"/>
      </p:ext>
    </p:extLst>
  </p:cSld>
  <p:clrMapOvr>
    <a:masterClrMapping/>
  </p:clrMapOvr>
  <p:extLst>
    <p:ext uri="{DCECCB84-F9BA-43D5-87BE-67443E8EF086}">
      <p15:sldGuideLst xmlns:p15="http://schemas.microsoft.com/office/powerpoint/2012/main">
        <p15:guide id="1" orient="horz" pos="170" userDrawn="1">
          <p15:clr>
            <a:srgbClr val="717275"/>
          </p15:clr>
        </p15:guide>
        <p15:guide id="2" orient="horz" pos="762" userDrawn="1">
          <p15:clr>
            <a:srgbClr val="717275"/>
          </p15:clr>
        </p15:guide>
        <p15:guide id="3" orient="horz" pos="1133" userDrawn="1">
          <p15:clr>
            <a:srgbClr val="FF96FF"/>
          </p15:clr>
        </p15:guide>
        <p15:guide id="4" orient="horz" pos="3543" userDrawn="1">
          <p15:clr>
            <a:srgbClr val="FF96FF"/>
          </p15:clr>
        </p15:guide>
        <p15:guide id="5" pos="226" userDrawn="1">
          <p15:clr>
            <a:srgbClr val="FF96FF"/>
          </p15:clr>
        </p15:guide>
        <p15:guide id="6" pos="7453" userDrawn="1">
          <p15:clr>
            <a:srgbClr val="FF96FF"/>
          </p15:clr>
        </p15:guide>
        <p15:guide id="7" orient="horz" pos="4020" userDrawn="1">
          <p15:clr>
            <a:srgbClr val="FF96FF"/>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End 4">
    <p:bg>
      <p:bgPr>
        <a:solidFill>
          <a:schemeClr val="bg1"/>
        </a:solidFill>
        <a:effectLst/>
      </p:bgPr>
    </p:bg>
    <p:spTree>
      <p:nvGrpSpPr>
        <p:cNvPr id="1" name=""/>
        <p:cNvGrpSpPr/>
        <p:nvPr/>
      </p:nvGrpSpPr>
      <p:grpSpPr>
        <a:xfrm>
          <a:off x="0" y="0"/>
          <a:ext cx="0" cy="0"/>
          <a:chOff x="0" y="0"/>
          <a:chExt cx="0" cy="0"/>
        </a:xfrm>
      </p:grpSpPr>
      <p:pic>
        <p:nvPicPr>
          <p:cNvPr id="9" name="Graphic 8">
            <a:extLst>
              <a:ext uri="{FF2B5EF4-FFF2-40B4-BE49-F238E27FC236}">
                <a16:creationId xmlns:a16="http://schemas.microsoft.com/office/drawing/2014/main" id="{AEC42528-88D8-420D-AABE-2B141DA6D0F7}"/>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0" y="0"/>
            <a:ext cx="12192000" cy="6858000"/>
          </a:xfrm>
          <a:prstGeom prst="rect">
            <a:avLst/>
          </a:prstGeom>
        </p:spPr>
      </p:pic>
      <p:sp>
        <p:nvSpPr>
          <p:cNvPr id="7" name="Guides" hidden="1">
            <a:extLst>
              <a:ext uri="{FF2B5EF4-FFF2-40B4-BE49-F238E27FC236}">
                <a16:creationId xmlns:a16="http://schemas.microsoft.com/office/drawing/2014/main" id="{75BAC15C-B945-49BD-AE8D-EB6E4780AD56}"/>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11" name="Text Placeholder 4">
            <a:extLst>
              <a:ext uri="{FF2B5EF4-FFF2-40B4-BE49-F238E27FC236}">
                <a16:creationId xmlns:a16="http://schemas.microsoft.com/office/drawing/2014/main" id="{4A80D473-87BE-4921-9A12-5CE61205864C}"/>
              </a:ext>
            </a:extLst>
          </p:cNvPr>
          <p:cNvSpPr>
            <a:spLocks noGrp="1"/>
          </p:cNvSpPr>
          <p:nvPr>
            <p:ph type="body" sz="quarter" idx="12" hasCustomPrompt="1"/>
          </p:nvPr>
        </p:nvSpPr>
        <p:spPr>
          <a:xfrm>
            <a:off x="358775" y="269876"/>
            <a:ext cx="11474450" cy="1528762"/>
          </a:xfrm>
        </p:spPr>
        <p:txBody>
          <a:bodyPr/>
          <a:lstStyle>
            <a:lvl1pPr marL="0" indent="0">
              <a:buNone/>
              <a:defRPr sz="8800">
                <a:latin typeface="+mj-lt"/>
              </a:defRPr>
            </a:lvl1pPr>
            <a:lvl2pPr marL="0" indent="0">
              <a:buNone/>
              <a:defRPr sz="8800">
                <a:latin typeface="+mj-lt"/>
              </a:defRPr>
            </a:lvl2pPr>
            <a:lvl3pPr marL="0" indent="0">
              <a:buNone/>
              <a:defRPr sz="8800">
                <a:latin typeface="+mj-lt"/>
              </a:defRPr>
            </a:lvl3pPr>
            <a:lvl4pPr marL="0" indent="0">
              <a:buNone/>
              <a:defRPr sz="8800">
                <a:latin typeface="+mj-lt"/>
              </a:defRPr>
            </a:lvl4pPr>
            <a:lvl5pPr marL="0" indent="0">
              <a:buNone/>
              <a:defRPr sz="8800">
                <a:latin typeface="+mj-lt"/>
              </a:defRPr>
            </a:lvl5pPr>
            <a:lvl6pPr marL="0" indent="0">
              <a:buNone/>
              <a:defRPr sz="8800">
                <a:latin typeface="+mj-lt"/>
              </a:defRPr>
            </a:lvl6pPr>
          </a:lstStyle>
          <a:p>
            <a:pPr lvl="0"/>
            <a:r>
              <a:rPr lang="en-US"/>
              <a:t>Add title</a:t>
            </a:r>
          </a:p>
        </p:txBody>
      </p:sp>
      <p:sp>
        <p:nvSpPr>
          <p:cNvPr id="13" name="TextBox 12">
            <a:extLst>
              <a:ext uri="{FF2B5EF4-FFF2-40B4-BE49-F238E27FC236}">
                <a16:creationId xmlns:a16="http://schemas.microsoft.com/office/drawing/2014/main" id="{CED6CFF4-D465-49C4-AA32-61E02E500E02}"/>
              </a:ext>
            </a:extLst>
          </p:cNvPr>
          <p:cNvSpPr txBox="1"/>
          <p:nvPr userDrawn="1"/>
        </p:nvSpPr>
        <p:spPr>
          <a:xfrm>
            <a:off x="3876187" y="5633832"/>
            <a:ext cx="1741715" cy="759890"/>
          </a:xfrm>
          <a:prstGeom prst="rect">
            <a:avLst/>
          </a:prstGeom>
          <a:noFill/>
        </p:spPr>
        <p:txBody>
          <a:bodyPr wrap="square" lIns="0" tIns="0" rIns="0" bIns="0" rtlCol="0">
            <a:noAutofit/>
          </a:bodyPr>
          <a:lstStyle/>
          <a:p>
            <a:pPr>
              <a:spcAft>
                <a:spcPts val="900"/>
              </a:spcAft>
            </a:pPr>
            <a:r>
              <a:rPr lang="en-US" sz="800"/>
              <a:t>The Global Fund to Fight</a:t>
            </a:r>
            <a:br>
              <a:rPr lang="en-GB" sz="800"/>
            </a:br>
            <a:r>
              <a:rPr lang="en-US" sz="800"/>
              <a:t>AIDS, Tuberculosis and Malaria</a:t>
            </a: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a:t>+41 58 791 1700</a:t>
            </a: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u="none">
                <a:solidFill>
                  <a:schemeClr val="tx1"/>
                </a:solidFill>
                <a:hlinkClick r:id="rId5">
                  <a:extLst>
                    <a:ext uri="{A12FA001-AC4F-418D-AE19-62706E023703}">
                      <ahyp:hlinkClr xmlns:ahyp="http://schemas.microsoft.com/office/drawing/2018/hyperlinkcolor" val="tx"/>
                    </a:ext>
                  </a:extLst>
                </a:hlinkClick>
              </a:rPr>
              <a:t>theglobalfund.org</a:t>
            </a:r>
            <a:endParaRPr lang="en-US" sz="800" u="none">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a:t> </a:t>
            </a:r>
            <a:endParaRPr lang="en-US"/>
          </a:p>
          <a:p>
            <a:endParaRPr lang="en-US" sz="800"/>
          </a:p>
        </p:txBody>
      </p:sp>
      <p:pic>
        <p:nvPicPr>
          <p:cNvPr id="1661459789" name="image" descr="{&quot;templafy&quot;:{&quot;id&quot;:&quot;3f6c5e35-80a8-4fc5-94d1-4dfcb2d3b1eb&quot;}}"/>
          <p:cNvPicPr>
            <a:picLocks noChangeAspect="1"/>
          </p:cNvPicPr>
          <p:nvPr/>
        </p:nvPicPr>
        <p:blipFill>
          <a:blip r:embed="rId6"/>
          <a:stretch>
            <a:fillRect/>
          </a:stretch>
        </p:blipFill>
        <p:spPr>
          <a:xfrm>
            <a:off x="358775" y="5633832"/>
            <a:ext cx="2253600" cy="290941"/>
          </a:xfrm>
          <a:prstGeom prst="rect">
            <a:avLst/>
          </a:prstGeom>
        </p:spPr>
      </p:pic>
      <p:pic>
        <p:nvPicPr>
          <p:cNvPr id="10" name="Picture 9" hidden="1">
            <a:extLst>
              <a:ext uri="{FF2B5EF4-FFF2-40B4-BE49-F238E27FC236}">
                <a16:creationId xmlns:a16="http://schemas.microsoft.com/office/drawing/2014/main" id="{8EFD3B2D-CA0E-4BC9-A8E3-70A948B2239D}"/>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358775" y="5633832"/>
            <a:ext cx="3067377" cy="396000"/>
          </a:xfrm>
          <a:prstGeom prst="rect">
            <a:avLst/>
          </a:prstGeom>
        </p:spPr>
      </p:pic>
    </p:spTree>
    <p:extLst>
      <p:ext uri="{BB962C8B-B14F-4D97-AF65-F5344CB8AC3E}">
        <p14:creationId xmlns:p14="http://schemas.microsoft.com/office/powerpoint/2010/main" val="1543813746"/>
      </p:ext>
    </p:extLst>
  </p:cSld>
  <p:clrMapOvr>
    <a:masterClrMapping/>
  </p:clrMapOvr>
  <p:extLst>
    <p:ext uri="{DCECCB84-F9BA-43D5-87BE-67443E8EF086}">
      <p15:sldGuideLst xmlns:p15="http://schemas.microsoft.com/office/powerpoint/2012/main">
        <p15:guide id="1" orient="horz" pos="170" userDrawn="1">
          <p15:clr>
            <a:srgbClr val="717275"/>
          </p15:clr>
        </p15:guide>
        <p15:guide id="2" orient="horz" pos="762" userDrawn="1">
          <p15:clr>
            <a:srgbClr val="717275"/>
          </p15:clr>
        </p15:guide>
        <p15:guide id="3" orient="horz" pos="1133" userDrawn="1">
          <p15:clr>
            <a:srgbClr val="FF96FF"/>
          </p15:clr>
        </p15:guide>
        <p15:guide id="4" orient="horz" pos="3543" userDrawn="1">
          <p15:clr>
            <a:srgbClr val="FF96FF"/>
          </p15:clr>
        </p15:guide>
        <p15:guide id="5" pos="226" userDrawn="1">
          <p15:clr>
            <a:srgbClr val="FF96FF"/>
          </p15:clr>
        </p15:guide>
        <p15:guide id="6" pos="7453" userDrawn="1">
          <p15:clr>
            <a:srgbClr val="FF96FF"/>
          </p15:clr>
        </p15:guide>
        <p15:guide id="7" orient="horz" pos="4020" userDrawn="1">
          <p15:clr>
            <a:srgbClr val="FF96FF"/>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End Expressive">
    <p:bg>
      <p:bgPr>
        <a:solidFill>
          <a:schemeClr val="bg1"/>
        </a:solidFill>
        <a:effectLst/>
      </p:bgPr>
    </p:bg>
    <p:spTree>
      <p:nvGrpSpPr>
        <p:cNvPr id="1" name=""/>
        <p:cNvGrpSpPr/>
        <p:nvPr/>
      </p:nvGrpSpPr>
      <p:grpSpPr>
        <a:xfrm>
          <a:off x="0" y="0"/>
          <a:ext cx="0" cy="0"/>
          <a:chOff x="0" y="0"/>
          <a:chExt cx="0" cy="0"/>
        </a:xfrm>
      </p:grpSpPr>
      <p:pic>
        <p:nvPicPr>
          <p:cNvPr id="9" name="Graphic 8">
            <a:extLst>
              <a:ext uri="{FF2B5EF4-FFF2-40B4-BE49-F238E27FC236}">
                <a16:creationId xmlns:a16="http://schemas.microsoft.com/office/drawing/2014/main" id="{1235D266-659B-40C3-8BD8-8A7B77EFFEA5}"/>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0" y="0"/>
            <a:ext cx="12192000" cy="6858000"/>
          </a:xfrm>
          <a:prstGeom prst="rect">
            <a:avLst/>
          </a:prstGeom>
        </p:spPr>
      </p:pic>
      <p:sp>
        <p:nvSpPr>
          <p:cNvPr id="7" name="Guides" hidden="1">
            <a:extLst>
              <a:ext uri="{FF2B5EF4-FFF2-40B4-BE49-F238E27FC236}">
                <a16:creationId xmlns:a16="http://schemas.microsoft.com/office/drawing/2014/main" id="{75BAC15C-B945-49BD-AE8D-EB6E4780AD56}"/>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17" name="Text Placeholder 4">
            <a:extLst>
              <a:ext uri="{FF2B5EF4-FFF2-40B4-BE49-F238E27FC236}">
                <a16:creationId xmlns:a16="http://schemas.microsoft.com/office/drawing/2014/main" id="{ACA73310-EDD7-4370-88AD-A94D36BEC3A4}"/>
              </a:ext>
            </a:extLst>
          </p:cNvPr>
          <p:cNvSpPr>
            <a:spLocks noGrp="1"/>
          </p:cNvSpPr>
          <p:nvPr>
            <p:ph type="body" sz="quarter" idx="12" hasCustomPrompt="1"/>
          </p:nvPr>
        </p:nvSpPr>
        <p:spPr>
          <a:xfrm>
            <a:off x="358775" y="269877"/>
            <a:ext cx="11474450" cy="1528762"/>
          </a:xfrm>
        </p:spPr>
        <p:txBody>
          <a:bodyPr/>
          <a:lstStyle>
            <a:lvl1pPr marL="0" indent="0">
              <a:buNone/>
              <a:defRPr sz="8800">
                <a:solidFill>
                  <a:schemeClr val="bg1"/>
                </a:solidFill>
                <a:latin typeface="+mj-lt"/>
              </a:defRPr>
            </a:lvl1pPr>
            <a:lvl2pPr marL="0" indent="0">
              <a:buNone/>
              <a:defRPr sz="8800">
                <a:latin typeface="+mj-lt"/>
              </a:defRPr>
            </a:lvl2pPr>
            <a:lvl3pPr marL="0" indent="0">
              <a:buNone/>
              <a:defRPr sz="8800">
                <a:latin typeface="+mj-lt"/>
              </a:defRPr>
            </a:lvl3pPr>
            <a:lvl4pPr marL="0" indent="0">
              <a:buNone/>
              <a:defRPr sz="8800">
                <a:latin typeface="+mj-lt"/>
              </a:defRPr>
            </a:lvl4pPr>
            <a:lvl5pPr marL="0" indent="0">
              <a:buNone/>
              <a:defRPr sz="8800">
                <a:latin typeface="+mj-lt"/>
              </a:defRPr>
            </a:lvl5pPr>
            <a:lvl6pPr marL="0" indent="0">
              <a:buNone/>
              <a:defRPr sz="8800">
                <a:latin typeface="+mj-lt"/>
              </a:defRPr>
            </a:lvl6pPr>
          </a:lstStyle>
          <a:p>
            <a:pPr lvl="0"/>
            <a:r>
              <a:rPr lang="en-US"/>
              <a:t>Add title</a:t>
            </a:r>
          </a:p>
        </p:txBody>
      </p:sp>
      <p:sp>
        <p:nvSpPr>
          <p:cNvPr id="11" name="TextBox 10">
            <a:extLst>
              <a:ext uri="{FF2B5EF4-FFF2-40B4-BE49-F238E27FC236}">
                <a16:creationId xmlns:a16="http://schemas.microsoft.com/office/drawing/2014/main" id="{BDD4E985-E71F-463E-A5D2-7805115D9398}"/>
              </a:ext>
            </a:extLst>
          </p:cNvPr>
          <p:cNvSpPr txBox="1"/>
          <p:nvPr userDrawn="1"/>
        </p:nvSpPr>
        <p:spPr>
          <a:xfrm>
            <a:off x="3876187" y="5633832"/>
            <a:ext cx="1741715" cy="759890"/>
          </a:xfrm>
          <a:prstGeom prst="rect">
            <a:avLst/>
          </a:prstGeom>
          <a:noFill/>
        </p:spPr>
        <p:txBody>
          <a:bodyPr wrap="square" lIns="0" tIns="0" rIns="0" bIns="0" rtlCol="0">
            <a:noAutofit/>
          </a:bodyPr>
          <a:lstStyle/>
          <a:p>
            <a:pPr>
              <a:spcAft>
                <a:spcPts val="900"/>
              </a:spcAft>
            </a:pPr>
            <a:r>
              <a:rPr lang="en-US" sz="800"/>
              <a:t>The Global Fund to Fight</a:t>
            </a:r>
            <a:br>
              <a:rPr lang="en-GB" sz="800"/>
            </a:br>
            <a:r>
              <a:rPr lang="en-US" sz="800"/>
              <a:t>AIDS, Tuberculosis and Malaria</a:t>
            </a: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a:t>+41 58 791 1700</a:t>
            </a: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u="none">
                <a:solidFill>
                  <a:schemeClr val="tx1"/>
                </a:solidFill>
                <a:hlinkClick r:id="rId5">
                  <a:extLst>
                    <a:ext uri="{A12FA001-AC4F-418D-AE19-62706E023703}">
                      <ahyp:hlinkClr xmlns:ahyp="http://schemas.microsoft.com/office/drawing/2018/hyperlinkcolor" val="tx"/>
                    </a:ext>
                  </a:extLst>
                </a:hlinkClick>
              </a:rPr>
              <a:t>theglobalfund.org</a:t>
            </a:r>
            <a:endParaRPr lang="en-US" sz="800" u="none">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a:t> </a:t>
            </a:r>
            <a:endParaRPr lang="en-US"/>
          </a:p>
          <a:p>
            <a:endParaRPr lang="en-US" sz="800"/>
          </a:p>
        </p:txBody>
      </p:sp>
      <p:pic>
        <p:nvPicPr>
          <p:cNvPr id="1196065028" name="image" descr="{&quot;templafy&quot;:{&quot;id&quot;:&quot;f7f80f17-fc21-4ed3-8524-16f3692dcd89&quot;}}"/>
          <p:cNvPicPr>
            <a:picLocks noChangeAspect="1"/>
          </p:cNvPicPr>
          <p:nvPr/>
        </p:nvPicPr>
        <p:blipFill>
          <a:blip r:embed="rId6"/>
          <a:stretch>
            <a:fillRect/>
          </a:stretch>
        </p:blipFill>
        <p:spPr>
          <a:xfrm>
            <a:off x="358775" y="5633832"/>
            <a:ext cx="2253600" cy="290941"/>
          </a:xfrm>
          <a:prstGeom prst="rect">
            <a:avLst/>
          </a:prstGeom>
        </p:spPr>
      </p:pic>
      <p:pic>
        <p:nvPicPr>
          <p:cNvPr id="10" name="Picture 9" hidden="1">
            <a:extLst>
              <a:ext uri="{FF2B5EF4-FFF2-40B4-BE49-F238E27FC236}">
                <a16:creationId xmlns:a16="http://schemas.microsoft.com/office/drawing/2014/main" id="{6424CF1F-3B8C-4B67-B264-01201D848253}"/>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358775" y="5633832"/>
            <a:ext cx="3067377" cy="396000"/>
          </a:xfrm>
          <a:prstGeom prst="rect">
            <a:avLst/>
          </a:prstGeom>
        </p:spPr>
      </p:pic>
    </p:spTree>
    <p:extLst>
      <p:ext uri="{BB962C8B-B14F-4D97-AF65-F5344CB8AC3E}">
        <p14:creationId xmlns:p14="http://schemas.microsoft.com/office/powerpoint/2010/main" val="441562983"/>
      </p:ext>
    </p:extLst>
  </p:cSld>
  <p:clrMapOvr>
    <a:masterClrMapping/>
  </p:clrMapOvr>
  <p:extLst>
    <p:ext uri="{DCECCB84-F9BA-43D5-87BE-67443E8EF086}">
      <p15:sldGuideLst xmlns:p15="http://schemas.microsoft.com/office/powerpoint/2012/main">
        <p15:guide id="1" orient="horz" pos="170" userDrawn="1">
          <p15:clr>
            <a:srgbClr val="717275"/>
          </p15:clr>
        </p15:guide>
        <p15:guide id="2" orient="horz" pos="762" userDrawn="1">
          <p15:clr>
            <a:srgbClr val="717275"/>
          </p15:clr>
        </p15:guide>
        <p15:guide id="3" orient="horz" pos="1133" userDrawn="1">
          <p15:clr>
            <a:srgbClr val="FF96FF"/>
          </p15:clr>
        </p15:guide>
        <p15:guide id="4" orient="horz" pos="3543" userDrawn="1">
          <p15:clr>
            <a:srgbClr val="FF96FF"/>
          </p15:clr>
        </p15:guide>
        <p15:guide id="5" pos="226" userDrawn="1">
          <p15:clr>
            <a:srgbClr val="FF96FF"/>
          </p15:clr>
        </p15:guide>
        <p15:guide id="6" pos="7453" userDrawn="1">
          <p15:clr>
            <a:srgbClr val="FF96FF"/>
          </p15:clr>
        </p15:guide>
        <p15:guide id="7" orient="horz" pos="4020" userDrawn="1">
          <p15:clr>
            <a:srgbClr val="FF96FF"/>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Title Event/Session Pictur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5BBB5A-E909-4B98-99CC-B3F2B12EF9E8}"/>
              </a:ext>
            </a:extLst>
          </p:cNvPr>
          <p:cNvSpPr>
            <a:spLocks noGrp="1"/>
          </p:cNvSpPr>
          <p:nvPr>
            <p:ph type="ctrTitle" hasCustomPrompt="1"/>
          </p:nvPr>
        </p:nvSpPr>
        <p:spPr>
          <a:xfrm>
            <a:off x="4320000" y="274721"/>
            <a:ext cx="7511638" cy="1477444"/>
          </a:xfrm>
        </p:spPr>
        <p:txBody>
          <a:bodyPr anchor="t" anchorCtr="0">
            <a:noAutofit/>
          </a:bodyPr>
          <a:lstStyle>
            <a:lvl1pPr algn="l">
              <a:defRPr sz="4800"/>
            </a:lvl1pPr>
          </a:lstStyle>
          <a:p>
            <a:r>
              <a:rPr lang="en-US"/>
              <a:t>Add session/event title</a:t>
            </a:r>
          </a:p>
        </p:txBody>
      </p:sp>
      <p:sp>
        <p:nvSpPr>
          <p:cNvPr id="7" name="Guides" hidden="1">
            <a:extLst>
              <a:ext uri="{FF2B5EF4-FFF2-40B4-BE49-F238E27FC236}">
                <a16:creationId xmlns:a16="http://schemas.microsoft.com/office/drawing/2014/main" id="{25E35409-37AF-410A-BB15-B1EDB639D7DA}"/>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5" name="Picture Placeholder 4">
            <a:extLst>
              <a:ext uri="{FF2B5EF4-FFF2-40B4-BE49-F238E27FC236}">
                <a16:creationId xmlns:a16="http://schemas.microsoft.com/office/drawing/2014/main" id="{E1CC5257-9E4F-4CA0-9178-9F39848BB31F}"/>
              </a:ext>
            </a:extLst>
          </p:cNvPr>
          <p:cNvSpPr>
            <a:spLocks noGrp="1"/>
          </p:cNvSpPr>
          <p:nvPr>
            <p:ph type="pic" sz="quarter" idx="10" hasCustomPrompt="1"/>
          </p:nvPr>
        </p:nvSpPr>
        <p:spPr>
          <a:xfrm>
            <a:off x="0" y="1798638"/>
            <a:ext cx="12192000" cy="5059362"/>
          </a:xfrm>
        </p:spPr>
        <p:txBody>
          <a:bodyPr tIns="144000"/>
          <a:lstStyle>
            <a:lvl1pPr marL="0" indent="0" algn="ctr">
              <a:buNone/>
              <a:defRPr/>
            </a:lvl1pPr>
          </a:lstStyle>
          <a:p>
            <a:r>
              <a:rPr lang="en-US"/>
              <a:t>Add image</a:t>
            </a:r>
          </a:p>
        </p:txBody>
      </p:sp>
      <p:pic>
        <p:nvPicPr>
          <p:cNvPr id="547465454" name="image" descr="{&quot;templafy&quot;:{&quot;id&quot;:&quot;e827750a-be7f-49ff-bc01-8ba1fd7e9e58&quot;}}"/>
          <p:cNvPicPr>
            <a:picLocks noChangeAspect="1"/>
          </p:cNvPicPr>
          <p:nvPr/>
        </p:nvPicPr>
        <p:blipFill>
          <a:blip r:embed="rId3"/>
          <a:stretch>
            <a:fillRect/>
          </a:stretch>
        </p:blipFill>
        <p:spPr>
          <a:xfrm>
            <a:off x="357842" y="283850"/>
            <a:ext cx="2253600" cy="773055"/>
          </a:xfrm>
          <a:prstGeom prst="rect">
            <a:avLst/>
          </a:prstGeom>
        </p:spPr>
      </p:pic>
    </p:spTree>
    <p:extLst>
      <p:ext uri="{BB962C8B-B14F-4D97-AF65-F5344CB8AC3E}">
        <p14:creationId xmlns:p14="http://schemas.microsoft.com/office/powerpoint/2010/main" val="1803006006"/>
      </p:ext>
    </p:extLst>
  </p:cSld>
  <p:clrMapOvr>
    <a:masterClrMapping/>
  </p:clrMapOvr>
  <p:extLst>
    <p:ext uri="{DCECCB84-F9BA-43D5-87BE-67443E8EF086}">
      <p15:sldGuideLst xmlns:p15="http://schemas.microsoft.com/office/powerpoint/2012/main">
        <p15:guide id="1" orient="horz" pos="170" userDrawn="1">
          <p15:clr>
            <a:srgbClr val="717275"/>
          </p15:clr>
        </p15:guide>
        <p15:guide id="3" orient="horz" pos="1133" userDrawn="1">
          <p15:clr>
            <a:srgbClr val="FF96FF"/>
          </p15:clr>
        </p15:guide>
        <p15:guide id="4" orient="horz" pos="3753" userDrawn="1">
          <p15:clr>
            <a:srgbClr val="FF96FF"/>
          </p15:clr>
        </p15:guide>
        <p15:guide id="5" pos="226" userDrawn="1">
          <p15:clr>
            <a:srgbClr val="FF96FF"/>
          </p15:clr>
        </p15:guide>
        <p15:guide id="6" pos="7453" userDrawn="1">
          <p15:clr>
            <a:srgbClr val="FF96FF"/>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Title Event/Session Dot Screen Picture">
    <p:spTree>
      <p:nvGrpSpPr>
        <p:cNvPr id="1" name=""/>
        <p:cNvGrpSpPr/>
        <p:nvPr/>
      </p:nvGrpSpPr>
      <p:grpSpPr>
        <a:xfrm>
          <a:off x="0" y="0"/>
          <a:ext cx="0" cy="0"/>
          <a:chOff x="0" y="0"/>
          <a:chExt cx="0" cy="0"/>
        </a:xfrm>
      </p:grpSpPr>
      <p:sp>
        <p:nvSpPr>
          <p:cNvPr id="7" name="Guides" hidden="1">
            <a:extLst>
              <a:ext uri="{FF2B5EF4-FFF2-40B4-BE49-F238E27FC236}">
                <a16:creationId xmlns:a16="http://schemas.microsoft.com/office/drawing/2014/main" id="{25E35409-37AF-410A-BB15-B1EDB639D7DA}"/>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12" name="Picture Placeholder 11">
            <a:extLst>
              <a:ext uri="{FF2B5EF4-FFF2-40B4-BE49-F238E27FC236}">
                <a16:creationId xmlns:a16="http://schemas.microsoft.com/office/drawing/2014/main" id="{E7CCDCC5-8D49-4870-BD90-2BE867A06DCB}"/>
              </a:ext>
            </a:extLst>
          </p:cNvPr>
          <p:cNvSpPr>
            <a:spLocks noGrp="1"/>
          </p:cNvSpPr>
          <p:nvPr userDrawn="1">
            <p:ph type="pic" sz="quarter" idx="10" hasCustomPrompt="1"/>
          </p:nvPr>
        </p:nvSpPr>
        <p:spPr>
          <a:xfrm>
            <a:off x="5561925" y="1"/>
            <a:ext cx="6630075" cy="6858000"/>
          </a:xfrm>
          <a:custGeom>
            <a:avLst/>
            <a:gdLst>
              <a:gd name="connsiteX0" fmla="*/ 629011 w 6616265"/>
              <a:gd name="connsiteY0" fmla="*/ 6807681 h 6843715"/>
              <a:gd name="connsiteX1" fmla="*/ 674414 w 6616265"/>
              <a:gd name="connsiteY1" fmla="*/ 6821955 h 6843715"/>
              <a:gd name="connsiteX2" fmla="*/ 692183 w 6616265"/>
              <a:gd name="connsiteY2" fmla="*/ 6843715 h 6843715"/>
              <a:gd name="connsiteX3" fmla="*/ 566186 w 6616265"/>
              <a:gd name="connsiteY3" fmla="*/ 6843715 h 6843715"/>
              <a:gd name="connsiteX4" fmla="*/ 583691 w 6616265"/>
              <a:gd name="connsiteY4" fmla="*/ 6821713 h 6843715"/>
              <a:gd name="connsiteX5" fmla="*/ 629011 w 6616265"/>
              <a:gd name="connsiteY5" fmla="*/ 6807681 h 6843715"/>
              <a:gd name="connsiteX6" fmla="*/ 1201250 w 6616265"/>
              <a:gd name="connsiteY6" fmla="*/ 6737360 h 6843715"/>
              <a:gd name="connsiteX7" fmla="*/ 1330440 w 6616265"/>
              <a:gd name="connsiteY7" fmla="*/ 6810301 h 6843715"/>
              <a:gd name="connsiteX8" fmla="*/ 1343433 w 6616265"/>
              <a:gd name="connsiteY8" fmla="*/ 6843715 h 6843715"/>
              <a:gd name="connsiteX9" fmla="*/ 1059118 w 6616265"/>
              <a:gd name="connsiteY9" fmla="*/ 6843715 h 6843715"/>
              <a:gd name="connsiteX10" fmla="*/ 1072333 w 6616265"/>
              <a:gd name="connsiteY10" fmla="*/ 6810029 h 6843715"/>
              <a:gd name="connsiteX11" fmla="*/ 1201250 w 6616265"/>
              <a:gd name="connsiteY11" fmla="*/ 6737360 h 6843715"/>
              <a:gd name="connsiteX12" fmla="*/ 56772 w 6616265"/>
              <a:gd name="connsiteY12" fmla="*/ 6273505 h 6843715"/>
              <a:gd name="connsiteX13" fmla="*/ 99350 w 6616265"/>
              <a:gd name="connsiteY13" fmla="*/ 6316084 h 6843715"/>
              <a:gd name="connsiteX14" fmla="*/ 56772 w 6616265"/>
              <a:gd name="connsiteY14" fmla="*/ 6358663 h 6843715"/>
              <a:gd name="connsiteX15" fmla="*/ 14192 w 6616265"/>
              <a:gd name="connsiteY15" fmla="*/ 6316084 h 6843715"/>
              <a:gd name="connsiteX16" fmla="*/ 56772 w 6616265"/>
              <a:gd name="connsiteY16" fmla="*/ 6273505 h 6843715"/>
              <a:gd name="connsiteX17" fmla="*/ 629011 w 6616265"/>
              <a:gd name="connsiteY17" fmla="*/ 6216087 h 6843715"/>
              <a:gd name="connsiteX18" fmla="*/ 729008 w 6616265"/>
              <a:gd name="connsiteY18" fmla="*/ 6316083 h 6843715"/>
              <a:gd name="connsiteX19" fmla="*/ 629011 w 6616265"/>
              <a:gd name="connsiteY19" fmla="*/ 6416081 h 6843715"/>
              <a:gd name="connsiteX20" fmla="*/ 529015 w 6616265"/>
              <a:gd name="connsiteY20" fmla="*/ 6316083 h 6843715"/>
              <a:gd name="connsiteX21" fmla="*/ 629011 w 6616265"/>
              <a:gd name="connsiteY21" fmla="*/ 6216087 h 6843715"/>
              <a:gd name="connsiteX22" fmla="*/ 1201251 w 6616265"/>
              <a:gd name="connsiteY22" fmla="*/ 6134800 h 6843715"/>
              <a:gd name="connsiteX23" fmla="*/ 1382536 w 6616265"/>
              <a:gd name="connsiteY23" fmla="*/ 6316084 h 6843715"/>
              <a:gd name="connsiteX24" fmla="*/ 1201251 w 6616265"/>
              <a:gd name="connsiteY24" fmla="*/ 6497368 h 6843715"/>
              <a:gd name="connsiteX25" fmla="*/ 1019967 w 6616265"/>
              <a:gd name="connsiteY25" fmla="*/ 6316084 h 6843715"/>
              <a:gd name="connsiteX26" fmla="*/ 1201251 w 6616265"/>
              <a:gd name="connsiteY26" fmla="*/ 6134800 h 6843715"/>
              <a:gd name="connsiteX27" fmla="*/ 56773 w 6616265"/>
              <a:gd name="connsiteY27" fmla="*/ 5692879 h 6843715"/>
              <a:gd name="connsiteX28" fmla="*/ 107738 w 6616265"/>
              <a:gd name="connsiteY28" fmla="*/ 5743845 h 6843715"/>
              <a:gd name="connsiteX29" fmla="*/ 56773 w 6616265"/>
              <a:gd name="connsiteY29" fmla="*/ 5794811 h 6843715"/>
              <a:gd name="connsiteX30" fmla="*/ 5806 w 6616265"/>
              <a:gd name="connsiteY30" fmla="*/ 5743845 h 6843715"/>
              <a:gd name="connsiteX31" fmla="*/ 56773 w 6616265"/>
              <a:gd name="connsiteY31" fmla="*/ 5692879 h 6843715"/>
              <a:gd name="connsiteX32" fmla="*/ 629011 w 6616265"/>
              <a:gd name="connsiteY32" fmla="*/ 5627719 h 6843715"/>
              <a:gd name="connsiteX33" fmla="*/ 744491 w 6616265"/>
              <a:gd name="connsiteY33" fmla="*/ 5743199 h 6843715"/>
              <a:gd name="connsiteX34" fmla="*/ 629011 w 6616265"/>
              <a:gd name="connsiteY34" fmla="*/ 5858679 h 6843715"/>
              <a:gd name="connsiteX35" fmla="*/ 513532 w 6616265"/>
              <a:gd name="connsiteY35" fmla="*/ 5743199 h 6843715"/>
              <a:gd name="connsiteX36" fmla="*/ 629011 w 6616265"/>
              <a:gd name="connsiteY36" fmla="*/ 5627719 h 6843715"/>
              <a:gd name="connsiteX37" fmla="*/ 1201250 w 6616265"/>
              <a:gd name="connsiteY37" fmla="*/ 5539980 h 6843715"/>
              <a:gd name="connsiteX38" fmla="*/ 1404470 w 6616265"/>
              <a:gd name="connsiteY38" fmla="*/ 5743199 h 6843715"/>
              <a:gd name="connsiteX39" fmla="*/ 1201250 w 6616265"/>
              <a:gd name="connsiteY39" fmla="*/ 5946419 h 6843715"/>
              <a:gd name="connsiteX40" fmla="*/ 998031 w 6616265"/>
              <a:gd name="connsiteY40" fmla="*/ 5743199 h 6843715"/>
              <a:gd name="connsiteX41" fmla="*/ 1201250 w 6616265"/>
              <a:gd name="connsiteY41" fmla="*/ 5539980 h 6843715"/>
              <a:gd name="connsiteX42" fmla="*/ 56772 w 6616265"/>
              <a:gd name="connsiteY42" fmla="*/ 5114188 h 6843715"/>
              <a:gd name="connsiteX43" fmla="*/ 113543 w 6616265"/>
              <a:gd name="connsiteY43" fmla="*/ 5170960 h 6843715"/>
              <a:gd name="connsiteX44" fmla="*/ 56772 w 6616265"/>
              <a:gd name="connsiteY44" fmla="*/ 5227732 h 6843715"/>
              <a:gd name="connsiteX45" fmla="*/ 0 w 6616265"/>
              <a:gd name="connsiteY45" fmla="*/ 5170960 h 6843715"/>
              <a:gd name="connsiteX46" fmla="*/ 56772 w 6616265"/>
              <a:gd name="connsiteY46" fmla="*/ 5114188 h 6843715"/>
              <a:gd name="connsiteX47" fmla="*/ 629011 w 6616265"/>
              <a:gd name="connsiteY47" fmla="*/ 5045803 h 6843715"/>
              <a:gd name="connsiteX48" fmla="*/ 754168 w 6616265"/>
              <a:gd name="connsiteY48" fmla="*/ 5170960 h 6843715"/>
              <a:gd name="connsiteX49" fmla="*/ 629011 w 6616265"/>
              <a:gd name="connsiteY49" fmla="*/ 5296117 h 6843715"/>
              <a:gd name="connsiteX50" fmla="*/ 503854 w 6616265"/>
              <a:gd name="connsiteY50" fmla="*/ 5170960 h 6843715"/>
              <a:gd name="connsiteX51" fmla="*/ 629011 w 6616265"/>
              <a:gd name="connsiteY51" fmla="*/ 5045803 h 6843715"/>
              <a:gd name="connsiteX52" fmla="*/ 1201250 w 6616265"/>
              <a:gd name="connsiteY52" fmla="*/ 4954192 h 6843715"/>
              <a:gd name="connsiteX53" fmla="*/ 1401022 w 6616265"/>
              <a:gd name="connsiteY53" fmla="*/ 5086466 h 6843715"/>
              <a:gd name="connsiteX54" fmla="*/ 1410074 w 6616265"/>
              <a:gd name="connsiteY54" fmla="*/ 5131470 h 6843715"/>
              <a:gd name="connsiteX55" fmla="*/ 1406404 w 6616265"/>
              <a:gd name="connsiteY55" fmla="*/ 5157374 h 6843715"/>
              <a:gd name="connsiteX56" fmla="*/ 1412511 w 6616265"/>
              <a:gd name="connsiteY56" fmla="*/ 5198249 h 6843715"/>
              <a:gd name="connsiteX57" fmla="*/ 1401022 w 6616265"/>
              <a:gd name="connsiteY57" fmla="*/ 5255180 h 6843715"/>
              <a:gd name="connsiteX58" fmla="*/ 1201250 w 6616265"/>
              <a:gd name="connsiteY58" fmla="*/ 5387727 h 6843715"/>
              <a:gd name="connsiteX59" fmla="*/ 984484 w 6616265"/>
              <a:gd name="connsiteY59" fmla="*/ 5170959 h 6843715"/>
              <a:gd name="connsiteX60" fmla="*/ 1201250 w 6616265"/>
              <a:gd name="connsiteY60" fmla="*/ 4954192 h 6843715"/>
              <a:gd name="connsiteX61" fmla="*/ 56772 w 6616265"/>
              <a:gd name="connsiteY61" fmla="*/ 4541948 h 6843715"/>
              <a:gd name="connsiteX62" fmla="*/ 113543 w 6616265"/>
              <a:gd name="connsiteY62" fmla="*/ 4598720 h 6843715"/>
              <a:gd name="connsiteX63" fmla="*/ 56772 w 6616265"/>
              <a:gd name="connsiteY63" fmla="*/ 4655492 h 6843715"/>
              <a:gd name="connsiteX64" fmla="*/ 0 w 6616265"/>
              <a:gd name="connsiteY64" fmla="*/ 4598720 h 6843715"/>
              <a:gd name="connsiteX65" fmla="*/ 56772 w 6616265"/>
              <a:gd name="connsiteY65" fmla="*/ 4541948 h 6843715"/>
              <a:gd name="connsiteX66" fmla="*/ 629011 w 6616265"/>
              <a:gd name="connsiteY66" fmla="*/ 4471628 h 6843715"/>
              <a:gd name="connsiteX67" fmla="*/ 756105 w 6616265"/>
              <a:gd name="connsiteY67" fmla="*/ 4598720 h 6843715"/>
              <a:gd name="connsiteX68" fmla="*/ 629011 w 6616265"/>
              <a:gd name="connsiteY68" fmla="*/ 4725814 h 6843715"/>
              <a:gd name="connsiteX69" fmla="*/ 501919 w 6616265"/>
              <a:gd name="connsiteY69" fmla="*/ 4598720 h 6843715"/>
              <a:gd name="connsiteX70" fmla="*/ 629011 w 6616265"/>
              <a:gd name="connsiteY70" fmla="*/ 4471628 h 6843715"/>
              <a:gd name="connsiteX71" fmla="*/ 1201250 w 6616265"/>
              <a:gd name="connsiteY71" fmla="*/ 4380018 h 6843715"/>
              <a:gd name="connsiteX72" fmla="*/ 1402746 w 6616265"/>
              <a:gd name="connsiteY72" fmla="*/ 4513653 h 6843715"/>
              <a:gd name="connsiteX73" fmla="*/ 1409763 w 6616265"/>
              <a:gd name="connsiteY73" fmla="*/ 4548338 h 6843715"/>
              <a:gd name="connsiteX74" fmla="*/ 1404469 w 6616265"/>
              <a:gd name="connsiteY74" fmla="*/ 4585134 h 6843715"/>
              <a:gd name="connsiteX75" fmla="*/ 1411993 w 6616265"/>
              <a:gd name="connsiteY75" fmla="*/ 4638076 h 6843715"/>
              <a:gd name="connsiteX76" fmla="*/ 1402746 w 6616265"/>
              <a:gd name="connsiteY76" fmla="*/ 4683789 h 6843715"/>
              <a:gd name="connsiteX77" fmla="*/ 1201250 w 6616265"/>
              <a:gd name="connsiteY77" fmla="*/ 4817424 h 6843715"/>
              <a:gd name="connsiteX78" fmla="*/ 982548 w 6616265"/>
              <a:gd name="connsiteY78" fmla="*/ 4598720 h 6843715"/>
              <a:gd name="connsiteX79" fmla="*/ 1201250 w 6616265"/>
              <a:gd name="connsiteY79" fmla="*/ 4380018 h 6843715"/>
              <a:gd name="connsiteX80" fmla="*/ 56772 w 6616265"/>
              <a:gd name="connsiteY80" fmla="*/ 3971645 h 6843715"/>
              <a:gd name="connsiteX81" fmla="*/ 111609 w 6616265"/>
              <a:gd name="connsiteY81" fmla="*/ 4026482 h 6843715"/>
              <a:gd name="connsiteX82" fmla="*/ 56772 w 6616265"/>
              <a:gd name="connsiteY82" fmla="*/ 4081319 h 6843715"/>
              <a:gd name="connsiteX83" fmla="*/ 1935 w 6616265"/>
              <a:gd name="connsiteY83" fmla="*/ 4026482 h 6843715"/>
              <a:gd name="connsiteX84" fmla="*/ 56772 w 6616265"/>
              <a:gd name="connsiteY84" fmla="*/ 3971645 h 6843715"/>
              <a:gd name="connsiteX85" fmla="*/ 629011 w 6616265"/>
              <a:gd name="connsiteY85" fmla="*/ 3905840 h 6843715"/>
              <a:gd name="connsiteX86" fmla="*/ 749008 w 6616265"/>
              <a:gd name="connsiteY86" fmla="*/ 4025836 h 6843715"/>
              <a:gd name="connsiteX87" fmla="*/ 629011 w 6616265"/>
              <a:gd name="connsiteY87" fmla="*/ 4145833 h 6843715"/>
              <a:gd name="connsiteX88" fmla="*/ 509015 w 6616265"/>
              <a:gd name="connsiteY88" fmla="*/ 4025836 h 6843715"/>
              <a:gd name="connsiteX89" fmla="*/ 629011 w 6616265"/>
              <a:gd name="connsiteY89" fmla="*/ 3905840 h 6843715"/>
              <a:gd name="connsiteX90" fmla="*/ 1203892 w 6616265"/>
              <a:gd name="connsiteY90" fmla="*/ 3814493 h 6843715"/>
              <a:gd name="connsiteX91" fmla="*/ 1409012 w 6616265"/>
              <a:gd name="connsiteY91" fmla="*/ 3986119 h 6843715"/>
              <a:gd name="connsiteX92" fmla="*/ 1410785 w 6616265"/>
              <a:gd name="connsiteY92" fmla="*/ 4005809 h 6843715"/>
              <a:gd name="connsiteX93" fmla="*/ 1410276 w 6616265"/>
              <a:gd name="connsiteY93" fmla="*/ 4012250 h 6843715"/>
              <a:gd name="connsiteX94" fmla="*/ 1412759 w 6616265"/>
              <a:gd name="connsiteY94" fmla="*/ 4029675 h 6843715"/>
              <a:gd name="connsiteX95" fmla="*/ 1408258 w 6616265"/>
              <a:gd name="connsiteY95" fmla="*/ 4070146 h 6843715"/>
              <a:gd name="connsiteX96" fmla="*/ 1241229 w 6616265"/>
              <a:gd name="connsiteY96" fmla="*/ 4233930 h 6843715"/>
              <a:gd name="connsiteX97" fmla="*/ 993420 w 6616265"/>
              <a:gd name="connsiteY97" fmla="*/ 4066148 h 6843715"/>
              <a:gd name="connsiteX98" fmla="*/ 1161200 w 6616265"/>
              <a:gd name="connsiteY98" fmla="*/ 3818336 h 6843715"/>
              <a:gd name="connsiteX99" fmla="*/ 1203892 w 6616265"/>
              <a:gd name="connsiteY99" fmla="*/ 3814493 h 6843715"/>
              <a:gd name="connsiteX100" fmla="*/ 56773 w 6616265"/>
              <a:gd name="connsiteY100" fmla="*/ 3404567 h 6843715"/>
              <a:gd name="connsiteX101" fmla="*/ 105802 w 6616265"/>
              <a:gd name="connsiteY101" fmla="*/ 3453598 h 6843715"/>
              <a:gd name="connsiteX102" fmla="*/ 56773 w 6616265"/>
              <a:gd name="connsiteY102" fmla="*/ 3502627 h 6843715"/>
              <a:gd name="connsiteX103" fmla="*/ 7742 w 6616265"/>
              <a:gd name="connsiteY103" fmla="*/ 3453598 h 6843715"/>
              <a:gd name="connsiteX104" fmla="*/ 56773 w 6616265"/>
              <a:gd name="connsiteY104" fmla="*/ 3404567 h 6843715"/>
              <a:gd name="connsiteX105" fmla="*/ 629011 w 6616265"/>
              <a:gd name="connsiteY105" fmla="*/ 3346504 h 6843715"/>
              <a:gd name="connsiteX106" fmla="*/ 736105 w 6616265"/>
              <a:gd name="connsiteY106" fmla="*/ 3453598 h 6843715"/>
              <a:gd name="connsiteX107" fmla="*/ 629011 w 6616265"/>
              <a:gd name="connsiteY107" fmla="*/ 3560691 h 6843715"/>
              <a:gd name="connsiteX108" fmla="*/ 521918 w 6616265"/>
              <a:gd name="connsiteY108" fmla="*/ 3453598 h 6843715"/>
              <a:gd name="connsiteX109" fmla="*/ 629011 w 6616265"/>
              <a:gd name="connsiteY109" fmla="*/ 3346504 h 6843715"/>
              <a:gd name="connsiteX110" fmla="*/ 1202686 w 6616265"/>
              <a:gd name="connsiteY110" fmla="*/ 3262070 h 6843715"/>
              <a:gd name="connsiteX111" fmla="*/ 1378371 w 6616265"/>
              <a:gd name="connsiteY111" fmla="*/ 3380400 h 6843715"/>
              <a:gd name="connsiteX112" fmla="*/ 1274673 w 6616265"/>
              <a:gd name="connsiteY112" fmla="*/ 3630753 h 6843715"/>
              <a:gd name="connsiteX113" fmla="*/ 1024320 w 6616265"/>
              <a:gd name="connsiteY113" fmla="*/ 3527055 h 6843715"/>
              <a:gd name="connsiteX114" fmla="*/ 1128017 w 6616265"/>
              <a:gd name="connsiteY114" fmla="*/ 3276702 h 6843715"/>
              <a:gd name="connsiteX115" fmla="*/ 1202686 w 6616265"/>
              <a:gd name="connsiteY115" fmla="*/ 3262070 h 6843715"/>
              <a:gd name="connsiteX116" fmla="*/ 56772 w 6616265"/>
              <a:gd name="connsiteY116" fmla="*/ 2842650 h 6843715"/>
              <a:gd name="connsiteX117" fmla="*/ 95481 w 6616265"/>
              <a:gd name="connsiteY117" fmla="*/ 2881358 h 6843715"/>
              <a:gd name="connsiteX118" fmla="*/ 56772 w 6616265"/>
              <a:gd name="connsiteY118" fmla="*/ 2920067 h 6843715"/>
              <a:gd name="connsiteX119" fmla="*/ 18064 w 6616265"/>
              <a:gd name="connsiteY119" fmla="*/ 2881358 h 6843715"/>
              <a:gd name="connsiteX120" fmla="*/ 56772 w 6616265"/>
              <a:gd name="connsiteY120" fmla="*/ 2842650 h 6843715"/>
              <a:gd name="connsiteX121" fmla="*/ 629011 w 6616265"/>
              <a:gd name="connsiteY121" fmla="*/ 2794264 h 6843715"/>
              <a:gd name="connsiteX122" fmla="*/ 716105 w 6616265"/>
              <a:gd name="connsiteY122" fmla="*/ 2881358 h 6843715"/>
              <a:gd name="connsiteX123" fmla="*/ 629011 w 6616265"/>
              <a:gd name="connsiteY123" fmla="*/ 2968451 h 6843715"/>
              <a:gd name="connsiteX124" fmla="*/ 541918 w 6616265"/>
              <a:gd name="connsiteY124" fmla="*/ 2881358 h 6843715"/>
              <a:gd name="connsiteX125" fmla="*/ 629011 w 6616265"/>
              <a:gd name="connsiteY125" fmla="*/ 2794264 h 6843715"/>
              <a:gd name="connsiteX126" fmla="*/ 1201251 w 6616265"/>
              <a:gd name="connsiteY126" fmla="*/ 2715556 h 6843715"/>
              <a:gd name="connsiteX127" fmla="*/ 1367053 w 6616265"/>
              <a:gd name="connsiteY127" fmla="*/ 2881358 h 6843715"/>
              <a:gd name="connsiteX128" fmla="*/ 1201251 w 6616265"/>
              <a:gd name="connsiteY128" fmla="*/ 3047159 h 6843715"/>
              <a:gd name="connsiteX129" fmla="*/ 1035450 w 6616265"/>
              <a:gd name="connsiteY129" fmla="*/ 2881358 h 6843715"/>
              <a:gd name="connsiteX130" fmla="*/ 1201251 w 6616265"/>
              <a:gd name="connsiteY130" fmla="*/ 2715556 h 6843715"/>
              <a:gd name="connsiteX131" fmla="*/ 629011 w 6616265"/>
              <a:gd name="connsiteY131" fmla="*/ 2240733 h 6843715"/>
              <a:gd name="connsiteX132" fmla="*/ 696752 w 6616265"/>
              <a:gd name="connsiteY132" fmla="*/ 2308473 h 6843715"/>
              <a:gd name="connsiteX133" fmla="*/ 629011 w 6616265"/>
              <a:gd name="connsiteY133" fmla="*/ 2376215 h 6843715"/>
              <a:gd name="connsiteX134" fmla="*/ 561272 w 6616265"/>
              <a:gd name="connsiteY134" fmla="*/ 2308473 h 6843715"/>
              <a:gd name="connsiteX135" fmla="*/ 629011 w 6616265"/>
              <a:gd name="connsiteY135" fmla="*/ 2240733 h 6843715"/>
              <a:gd name="connsiteX136" fmla="*/ 1201250 w 6616265"/>
              <a:gd name="connsiteY136" fmla="*/ 2176227 h 6843715"/>
              <a:gd name="connsiteX137" fmla="*/ 1333504 w 6616265"/>
              <a:gd name="connsiteY137" fmla="*/ 2308480 h 6843715"/>
              <a:gd name="connsiteX138" fmla="*/ 1201250 w 6616265"/>
              <a:gd name="connsiteY138" fmla="*/ 2440726 h 6843715"/>
              <a:gd name="connsiteX139" fmla="*/ 1068997 w 6616265"/>
              <a:gd name="connsiteY139" fmla="*/ 2308480 h 6843715"/>
              <a:gd name="connsiteX140" fmla="*/ 1201250 w 6616265"/>
              <a:gd name="connsiteY140" fmla="*/ 2176227 h 6843715"/>
              <a:gd name="connsiteX141" fmla="*/ 1773490 w 6616265"/>
              <a:gd name="connsiteY141" fmla="*/ 2088481 h 6843715"/>
              <a:gd name="connsiteX142" fmla="*/ 1976166 w 6616265"/>
              <a:gd name="connsiteY142" fmla="*/ 2222936 h 6843715"/>
              <a:gd name="connsiteX143" fmla="*/ 1987399 w 6616265"/>
              <a:gd name="connsiteY143" fmla="*/ 2278426 h 6843715"/>
              <a:gd name="connsiteX144" fmla="*/ 1985740 w 6616265"/>
              <a:gd name="connsiteY144" fmla="*/ 2294891 h 6843715"/>
              <a:gd name="connsiteX145" fmla="*/ 1989817 w 6616265"/>
              <a:gd name="connsiteY145" fmla="*/ 2326586 h 6843715"/>
              <a:gd name="connsiteX146" fmla="*/ 1976166 w 6616265"/>
              <a:gd name="connsiteY146" fmla="*/ 2394018 h 6843715"/>
              <a:gd name="connsiteX147" fmla="*/ 1773490 w 6616265"/>
              <a:gd name="connsiteY147" fmla="*/ 2528464 h 6843715"/>
              <a:gd name="connsiteX148" fmla="*/ 1553498 w 6616265"/>
              <a:gd name="connsiteY148" fmla="*/ 2308473 h 6843715"/>
              <a:gd name="connsiteX149" fmla="*/ 1773490 w 6616265"/>
              <a:gd name="connsiteY149" fmla="*/ 2088481 h 6843715"/>
              <a:gd name="connsiteX150" fmla="*/ 629011 w 6616265"/>
              <a:gd name="connsiteY150" fmla="*/ 1688493 h 6843715"/>
              <a:gd name="connsiteX151" fmla="*/ 676752 w 6616265"/>
              <a:gd name="connsiteY151" fmla="*/ 1736234 h 6843715"/>
              <a:gd name="connsiteX152" fmla="*/ 629011 w 6616265"/>
              <a:gd name="connsiteY152" fmla="*/ 1783975 h 6843715"/>
              <a:gd name="connsiteX153" fmla="*/ 581271 w 6616265"/>
              <a:gd name="connsiteY153" fmla="*/ 1736234 h 6843715"/>
              <a:gd name="connsiteX154" fmla="*/ 629011 w 6616265"/>
              <a:gd name="connsiteY154" fmla="*/ 1688493 h 6843715"/>
              <a:gd name="connsiteX155" fmla="*/ 1201250 w 6616265"/>
              <a:gd name="connsiteY155" fmla="*/ 1639465 h 6843715"/>
              <a:gd name="connsiteX156" fmla="*/ 1298022 w 6616265"/>
              <a:gd name="connsiteY156" fmla="*/ 1736237 h 6843715"/>
              <a:gd name="connsiteX157" fmla="*/ 1201250 w 6616265"/>
              <a:gd name="connsiteY157" fmla="*/ 1833008 h 6843715"/>
              <a:gd name="connsiteX158" fmla="*/ 1104480 w 6616265"/>
              <a:gd name="connsiteY158" fmla="*/ 1736237 h 6843715"/>
              <a:gd name="connsiteX159" fmla="*/ 1201250 w 6616265"/>
              <a:gd name="connsiteY159" fmla="*/ 1639465 h 6843715"/>
              <a:gd name="connsiteX160" fmla="*/ 1741933 w 6616265"/>
              <a:gd name="connsiteY160" fmla="*/ 1572389 h 6843715"/>
              <a:gd name="connsiteX161" fmla="*/ 1937614 w 6616265"/>
              <a:gd name="connsiteY161" fmla="*/ 1704875 h 6843715"/>
              <a:gd name="connsiteX162" fmla="*/ 1805127 w 6616265"/>
              <a:gd name="connsiteY162" fmla="*/ 1900555 h 6843715"/>
              <a:gd name="connsiteX163" fmla="*/ 1609447 w 6616265"/>
              <a:gd name="connsiteY163" fmla="*/ 1768068 h 6843715"/>
              <a:gd name="connsiteX164" fmla="*/ 1741933 w 6616265"/>
              <a:gd name="connsiteY164" fmla="*/ 1572389 h 6843715"/>
              <a:gd name="connsiteX165" fmla="*/ 1189474 w 6616265"/>
              <a:gd name="connsiteY165" fmla="*/ 1102707 h 6843715"/>
              <a:gd name="connsiteX166" fmla="*/ 1262761 w 6616265"/>
              <a:gd name="connsiteY166" fmla="*/ 1152327 h 6843715"/>
              <a:gd name="connsiteX167" fmla="*/ 1213141 w 6616265"/>
              <a:gd name="connsiteY167" fmla="*/ 1225613 h 6843715"/>
              <a:gd name="connsiteX168" fmla="*/ 1139856 w 6616265"/>
              <a:gd name="connsiteY168" fmla="*/ 1175994 h 6843715"/>
              <a:gd name="connsiteX169" fmla="*/ 1189474 w 6616265"/>
              <a:gd name="connsiteY169" fmla="*/ 1102707 h 6843715"/>
              <a:gd name="connsiteX170" fmla="*/ 1773490 w 6616265"/>
              <a:gd name="connsiteY170" fmla="*/ 1043355 h 6843715"/>
              <a:gd name="connsiteX171" fmla="*/ 1894132 w 6616265"/>
              <a:gd name="connsiteY171" fmla="*/ 1163996 h 6843715"/>
              <a:gd name="connsiteX172" fmla="*/ 1773490 w 6616265"/>
              <a:gd name="connsiteY172" fmla="*/ 1284638 h 6843715"/>
              <a:gd name="connsiteX173" fmla="*/ 1652849 w 6616265"/>
              <a:gd name="connsiteY173" fmla="*/ 1163996 h 6843715"/>
              <a:gd name="connsiteX174" fmla="*/ 1773490 w 6616265"/>
              <a:gd name="connsiteY174" fmla="*/ 1043355 h 6843715"/>
              <a:gd name="connsiteX175" fmla="*/ 2346375 w 6616265"/>
              <a:gd name="connsiteY175" fmla="*/ 973034 h 6843715"/>
              <a:gd name="connsiteX176" fmla="*/ 2537336 w 6616265"/>
              <a:gd name="connsiteY176" fmla="*/ 1163996 h 6843715"/>
              <a:gd name="connsiteX177" fmla="*/ 2346375 w 6616265"/>
              <a:gd name="connsiteY177" fmla="*/ 1354957 h 6843715"/>
              <a:gd name="connsiteX178" fmla="*/ 2155413 w 6616265"/>
              <a:gd name="connsiteY178" fmla="*/ 1163996 h 6843715"/>
              <a:gd name="connsiteX179" fmla="*/ 2346375 w 6616265"/>
              <a:gd name="connsiteY179" fmla="*/ 973034 h 6843715"/>
              <a:gd name="connsiteX180" fmla="*/ 1201251 w 6616265"/>
              <a:gd name="connsiteY180" fmla="*/ 554986 h 6843715"/>
              <a:gd name="connsiteX181" fmla="*/ 1238024 w 6616265"/>
              <a:gd name="connsiteY181" fmla="*/ 591758 h 6843715"/>
              <a:gd name="connsiteX182" fmla="*/ 1201251 w 6616265"/>
              <a:gd name="connsiteY182" fmla="*/ 628531 h 6843715"/>
              <a:gd name="connsiteX183" fmla="*/ 1164478 w 6616265"/>
              <a:gd name="connsiteY183" fmla="*/ 591758 h 6843715"/>
              <a:gd name="connsiteX184" fmla="*/ 1201251 w 6616265"/>
              <a:gd name="connsiteY184" fmla="*/ 554986 h 6843715"/>
              <a:gd name="connsiteX185" fmla="*/ 1773490 w 6616265"/>
              <a:gd name="connsiteY185" fmla="*/ 516275 h 6843715"/>
              <a:gd name="connsiteX186" fmla="*/ 1848972 w 6616265"/>
              <a:gd name="connsiteY186" fmla="*/ 591757 h 6843715"/>
              <a:gd name="connsiteX187" fmla="*/ 1773490 w 6616265"/>
              <a:gd name="connsiteY187" fmla="*/ 667238 h 6843715"/>
              <a:gd name="connsiteX188" fmla="*/ 1698009 w 6616265"/>
              <a:gd name="connsiteY188" fmla="*/ 591757 h 6843715"/>
              <a:gd name="connsiteX189" fmla="*/ 1773490 w 6616265"/>
              <a:gd name="connsiteY189" fmla="*/ 516275 h 6843715"/>
              <a:gd name="connsiteX190" fmla="*/ 2346375 w 6616265"/>
              <a:gd name="connsiteY190" fmla="*/ 462084 h 6843715"/>
              <a:gd name="connsiteX191" fmla="*/ 2476048 w 6616265"/>
              <a:gd name="connsiteY191" fmla="*/ 591757 h 6843715"/>
              <a:gd name="connsiteX192" fmla="*/ 2346375 w 6616265"/>
              <a:gd name="connsiteY192" fmla="*/ 721429 h 6843715"/>
              <a:gd name="connsiteX193" fmla="*/ 2216701 w 6616265"/>
              <a:gd name="connsiteY193" fmla="*/ 591757 h 6843715"/>
              <a:gd name="connsiteX194" fmla="*/ 2346375 w 6616265"/>
              <a:gd name="connsiteY194" fmla="*/ 462084 h 6843715"/>
              <a:gd name="connsiteX195" fmla="*/ 2918615 w 6616265"/>
              <a:gd name="connsiteY195" fmla="*/ 395638 h 6843715"/>
              <a:gd name="connsiteX196" fmla="*/ 3114093 w 6616265"/>
              <a:gd name="connsiteY196" fmla="*/ 591115 h 6843715"/>
              <a:gd name="connsiteX197" fmla="*/ 2918615 w 6616265"/>
              <a:gd name="connsiteY197" fmla="*/ 786593 h 6843715"/>
              <a:gd name="connsiteX198" fmla="*/ 2723138 w 6616265"/>
              <a:gd name="connsiteY198" fmla="*/ 591115 h 6843715"/>
              <a:gd name="connsiteX199" fmla="*/ 2918615 w 6616265"/>
              <a:gd name="connsiteY199" fmla="*/ 395638 h 6843715"/>
              <a:gd name="connsiteX200" fmla="*/ 4310583 w 6616265"/>
              <a:gd name="connsiteY200" fmla="*/ 0 h 6843715"/>
              <a:gd name="connsiteX201" fmla="*/ 6616265 w 6616265"/>
              <a:gd name="connsiteY201" fmla="*/ 0 h 6843715"/>
              <a:gd name="connsiteX202" fmla="*/ 6616265 w 6616265"/>
              <a:gd name="connsiteY202" fmla="*/ 6843715 h 6843715"/>
              <a:gd name="connsiteX203" fmla="*/ 1487341 w 6616265"/>
              <a:gd name="connsiteY203" fmla="*/ 6843715 h 6843715"/>
              <a:gd name="connsiteX204" fmla="*/ 1496539 w 6616265"/>
              <a:gd name="connsiteY204" fmla="*/ 6801672 h 6843715"/>
              <a:gd name="connsiteX205" fmla="*/ 1727039 w 6616265"/>
              <a:gd name="connsiteY205" fmla="*/ 6632808 h 6843715"/>
              <a:gd name="connsiteX206" fmla="*/ 1965741 w 6616265"/>
              <a:gd name="connsiteY206" fmla="*/ 6834092 h 6843715"/>
              <a:gd name="connsiteX207" fmla="*/ 2090255 w 6616265"/>
              <a:gd name="connsiteY207" fmla="*/ 6611519 h 6843715"/>
              <a:gd name="connsiteX208" fmla="*/ 1960580 w 6616265"/>
              <a:gd name="connsiteY208" fmla="*/ 6459266 h 6843715"/>
              <a:gd name="connsiteX209" fmla="*/ 1727039 w 6616265"/>
              <a:gd name="connsiteY209" fmla="*/ 6583778 h 6843715"/>
              <a:gd name="connsiteX210" fmla="*/ 1445758 w 6616265"/>
              <a:gd name="connsiteY210" fmla="*/ 6302497 h 6843715"/>
              <a:gd name="connsiteX211" fmla="*/ 1658654 w 6616265"/>
              <a:gd name="connsiteY211" fmla="*/ 6029603 h 6843715"/>
              <a:gd name="connsiteX212" fmla="*/ 1419307 w 6616265"/>
              <a:gd name="connsiteY212" fmla="*/ 5729612 h 6843715"/>
              <a:gd name="connsiteX213" fmla="*/ 1598012 w 6616265"/>
              <a:gd name="connsiteY213" fmla="*/ 5450912 h 6843715"/>
              <a:gd name="connsiteX214" fmla="*/ 1420467 w 6616265"/>
              <a:gd name="connsiteY214" fmla="*/ 5251503 h 6843715"/>
              <a:gd name="connsiteX215" fmla="*/ 1412511 w 6616265"/>
              <a:gd name="connsiteY215" fmla="*/ 5198249 h 6843715"/>
              <a:gd name="connsiteX216" fmla="*/ 1418018 w 6616265"/>
              <a:gd name="connsiteY216" fmla="*/ 5170959 h 6843715"/>
              <a:gd name="connsiteX217" fmla="*/ 1410074 w 6616265"/>
              <a:gd name="connsiteY217" fmla="*/ 5131470 h 6843715"/>
              <a:gd name="connsiteX218" fmla="*/ 1419106 w 6616265"/>
              <a:gd name="connsiteY218" fmla="*/ 5067729 h 6843715"/>
              <a:gd name="connsiteX219" fmla="*/ 1580592 w 6616265"/>
              <a:gd name="connsiteY219" fmla="*/ 4872221 h 6843715"/>
              <a:gd name="connsiteX220" fmla="*/ 1417291 w 6616265"/>
              <a:gd name="connsiteY220" fmla="*/ 4675353 h 6843715"/>
              <a:gd name="connsiteX221" fmla="*/ 1411993 w 6616265"/>
              <a:gd name="connsiteY221" fmla="*/ 4638076 h 6843715"/>
              <a:gd name="connsiteX222" fmla="*/ 1419954 w 6616265"/>
              <a:gd name="connsiteY222" fmla="*/ 4598720 h 6843715"/>
              <a:gd name="connsiteX223" fmla="*/ 1409763 w 6616265"/>
              <a:gd name="connsiteY223" fmla="*/ 4548338 h 6843715"/>
              <a:gd name="connsiteX224" fmla="*/ 1417623 w 6616265"/>
              <a:gd name="connsiteY224" fmla="*/ 4493696 h 6843715"/>
              <a:gd name="connsiteX225" fmla="*/ 1584463 w 6616265"/>
              <a:gd name="connsiteY225" fmla="*/ 4295466 h 6843715"/>
              <a:gd name="connsiteX226" fmla="*/ 1422978 w 6616265"/>
              <a:gd name="connsiteY226" fmla="*/ 4101409 h 6843715"/>
              <a:gd name="connsiteX227" fmla="*/ 1412759 w 6616265"/>
              <a:gd name="connsiteY227" fmla="*/ 4029675 h 6843715"/>
              <a:gd name="connsiteX228" fmla="*/ 1412855 w 6616265"/>
              <a:gd name="connsiteY228" fmla="*/ 4028809 h 6843715"/>
              <a:gd name="connsiteX229" fmla="*/ 1410785 w 6616265"/>
              <a:gd name="connsiteY229" fmla="*/ 4005809 h 6843715"/>
              <a:gd name="connsiteX230" fmla="*/ 1414258 w 6616265"/>
              <a:gd name="connsiteY230" fmla="*/ 3961788 h 6843715"/>
              <a:gd name="connsiteX231" fmla="*/ 1619945 w 6616265"/>
              <a:gd name="connsiteY231" fmla="*/ 3714195 h 6843715"/>
              <a:gd name="connsiteX232" fmla="*/ 1432210 w 6616265"/>
              <a:gd name="connsiteY232" fmla="*/ 3440010 h 6843715"/>
              <a:gd name="connsiteX233" fmla="*/ 1727039 w 6616265"/>
              <a:gd name="connsiteY233" fmla="*/ 3145181 h 6843715"/>
              <a:gd name="connsiteX234" fmla="*/ 1959290 w 6616265"/>
              <a:gd name="connsiteY234" fmla="*/ 3259371 h 6843715"/>
              <a:gd name="connsiteX235" fmla="*/ 2066382 w 6616265"/>
              <a:gd name="connsiteY235" fmla="*/ 3133569 h 6843715"/>
              <a:gd name="connsiteX236" fmla="*/ 1963805 w 6616265"/>
              <a:gd name="connsiteY236" fmla="*/ 2980026 h 6843715"/>
              <a:gd name="connsiteX237" fmla="*/ 1726393 w 6616265"/>
              <a:gd name="connsiteY237" fmla="*/ 3129697 h 6843715"/>
              <a:gd name="connsiteX238" fmla="*/ 1463822 w 6616265"/>
              <a:gd name="connsiteY238" fmla="*/ 2867126 h 6843715"/>
              <a:gd name="connsiteX239" fmla="*/ 1726393 w 6616265"/>
              <a:gd name="connsiteY239" fmla="*/ 2604554 h 6843715"/>
              <a:gd name="connsiteX240" fmla="*/ 1963805 w 6616265"/>
              <a:gd name="connsiteY240" fmla="*/ 2754227 h 6843715"/>
              <a:gd name="connsiteX241" fmla="*/ 2128316 w 6616265"/>
              <a:gd name="connsiteY241" fmla="*/ 2557458 h 6843715"/>
              <a:gd name="connsiteX242" fmla="*/ 1995952 w 6616265"/>
              <a:gd name="connsiteY242" fmla="*/ 2374289 h 6843715"/>
              <a:gd name="connsiteX243" fmla="*/ 1989817 w 6616265"/>
              <a:gd name="connsiteY243" fmla="*/ 2326586 h 6843715"/>
              <a:gd name="connsiteX244" fmla="*/ 1993483 w 6616265"/>
              <a:gd name="connsiteY244" fmla="*/ 2308473 h 6843715"/>
              <a:gd name="connsiteX245" fmla="*/ 1987399 w 6616265"/>
              <a:gd name="connsiteY245" fmla="*/ 2278426 h 6843715"/>
              <a:gd name="connsiteX246" fmla="*/ 1992121 w 6616265"/>
              <a:gd name="connsiteY246" fmla="*/ 2231592 h 6843715"/>
              <a:gd name="connsiteX247" fmla="*/ 2299279 w 6616265"/>
              <a:gd name="connsiteY247" fmla="*/ 1981352 h 6843715"/>
              <a:gd name="connsiteX248" fmla="*/ 2538627 w 6616265"/>
              <a:gd name="connsiteY248" fmla="*/ 2092962 h 6843715"/>
              <a:gd name="connsiteX249" fmla="*/ 2647655 w 6616265"/>
              <a:gd name="connsiteY249" fmla="*/ 1976190 h 6843715"/>
              <a:gd name="connsiteX250" fmla="*/ 2542497 w 6616265"/>
              <a:gd name="connsiteY250" fmla="*/ 1803293 h 6843715"/>
              <a:gd name="connsiteX251" fmla="*/ 2298633 w 6616265"/>
              <a:gd name="connsiteY251" fmla="*/ 1979417 h 6843715"/>
              <a:gd name="connsiteX252" fmla="*/ 2041223 w 6616265"/>
              <a:gd name="connsiteY252" fmla="*/ 1722003 h 6843715"/>
              <a:gd name="connsiteX253" fmla="*/ 2298633 w 6616265"/>
              <a:gd name="connsiteY253" fmla="*/ 1464593 h 6843715"/>
              <a:gd name="connsiteX254" fmla="*/ 2542497 w 6616265"/>
              <a:gd name="connsiteY254" fmla="*/ 1640718 h 6843715"/>
              <a:gd name="connsiteX255" fmla="*/ 2760555 w 6616265"/>
              <a:gd name="connsiteY255" fmla="*/ 1402016 h 6843715"/>
              <a:gd name="connsiteX256" fmla="*/ 2595400 w 6616265"/>
              <a:gd name="connsiteY256" fmla="*/ 1149118 h 6843715"/>
              <a:gd name="connsiteX257" fmla="*/ 2871517 w 6616265"/>
              <a:gd name="connsiteY257" fmla="*/ 872997 h 6843715"/>
              <a:gd name="connsiteX258" fmla="*/ 3123123 w 6616265"/>
              <a:gd name="connsiteY258" fmla="*/ 1035574 h 6843715"/>
              <a:gd name="connsiteX259" fmla="*/ 3348277 w 6616265"/>
              <a:gd name="connsiteY259" fmla="*/ 822035 h 6843715"/>
              <a:gd name="connsiteX260" fmla="*/ 3179895 w 6616265"/>
              <a:gd name="connsiteY260" fmla="*/ 576235 h 6843715"/>
              <a:gd name="connsiteX261" fmla="*/ 3443757 w 6616265"/>
              <a:gd name="connsiteY261" fmla="*/ 312373 h 6843715"/>
              <a:gd name="connsiteX262" fmla="*/ 3699877 w 6616265"/>
              <a:gd name="connsiteY262" fmla="*/ 514303 h 6843715"/>
              <a:gd name="connsiteX263" fmla="*/ 4015997 w 6616265"/>
              <a:gd name="connsiteY263" fmla="*/ 254311 h 6843715"/>
              <a:gd name="connsiteX264" fmla="*/ 4275343 w 6616265"/>
              <a:gd name="connsiteY264" fmla="*/ 385274 h 6843715"/>
              <a:gd name="connsiteX265" fmla="*/ 4441789 w 6616265"/>
              <a:gd name="connsiteY265" fmla="*/ 240118 h 6843715"/>
              <a:gd name="connsiteX266" fmla="*/ 4310179 w 6616265"/>
              <a:gd name="connsiteY266" fmla="*/ 3997 h 6843715"/>
              <a:gd name="connsiteX267" fmla="*/ 3836709 w 6616265"/>
              <a:gd name="connsiteY267" fmla="*/ 0 h 6843715"/>
              <a:gd name="connsiteX268" fmla="*/ 4290765 w 6616265"/>
              <a:gd name="connsiteY268" fmla="*/ 0 h 6843715"/>
              <a:gd name="connsiteX269" fmla="*/ 4294697 w 6616265"/>
              <a:gd name="connsiteY269" fmla="*/ 19521 h 6843715"/>
              <a:gd name="connsiteX270" fmla="*/ 4063739 w 6616265"/>
              <a:gd name="connsiteY270" fmla="*/ 250481 h 6843715"/>
              <a:gd name="connsiteX271" fmla="*/ 3832777 w 6616265"/>
              <a:gd name="connsiteY271" fmla="*/ 19521 h 6843715"/>
              <a:gd name="connsiteX272" fmla="*/ 3315961 w 6616265"/>
              <a:gd name="connsiteY272" fmla="*/ 0 h 6843715"/>
              <a:gd name="connsiteX273" fmla="*/ 3665747 w 6616265"/>
              <a:gd name="connsiteY273" fmla="*/ 0 h 6843715"/>
              <a:gd name="connsiteX274" fmla="*/ 3669557 w 6616265"/>
              <a:gd name="connsiteY274" fmla="*/ 18877 h 6843715"/>
              <a:gd name="connsiteX275" fmla="*/ 3490853 w 6616265"/>
              <a:gd name="connsiteY275" fmla="*/ 197580 h 6843715"/>
              <a:gd name="connsiteX276" fmla="*/ 3312149 w 6616265"/>
              <a:gd name="connsiteY276" fmla="*/ 18877 h 6843715"/>
              <a:gd name="connsiteX277" fmla="*/ 2797407 w 6616265"/>
              <a:gd name="connsiteY277" fmla="*/ 0 h 6843715"/>
              <a:gd name="connsiteX278" fmla="*/ 3039823 w 6616265"/>
              <a:gd name="connsiteY278" fmla="*/ 0 h 6843715"/>
              <a:gd name="connsiteX279" fmla="*/ 3043771 w 6616265"/>
              <a:gd name="connsiteY279" fmla="*/ 19521 h 6843715"/>
              <a:gd name="connsiteX280" fmla="*/ 2918615 w 6616265"/>
              <a:gd name="connsiteY280" fmla="*/ 144678 h 6843715"/>
              <a:gd name="connsiteX281" fmla="*/ 2793457 w 6616265"/>
              <a:gd name="connsiteY281" fmla="*/ 19521 h 6843715"/>
              <a:gd name="connsiteX282" fmla="*/ 2274893 w 6616265"/>
              <a:gd name="connsiteY282" fmla="*/ 0 h 6843715"/>
              <a:gd name="connsiteX283" fmla="*/ 2417855 w 6616265"/>
              <a:gd name="connsiteY283" fmla="*/ 0 h 6843715"/>
              <a:gd name="connsiteX284" fmla="*/ 2421856 w 6616265"/>
              <a:gd name="connsiteY284" fmla="*/ 19518 h 6843715"/>
              <a:gd name="connsiteX285" fmla="*/ 2346375 w 6616265"/>
              <a:gd name="connsiteY285" fmla="*/ 94999 h 6843715"/>
              <a:gd name="connsiteX286" fmla="*/ 2270893 w 6616265"/>
              <a:gd name="connsiteY286" fmla="*/ 19518 h 6843715"/>
              <a:gd name="connsiteX287" fmla="*/ 1740884 w 6616265"/>
              <a:gd name="connsiteY287" fmla="*/ 0 h 6843715"/>
              <a:gd name="connsiteX288" fmla="*/ 1806098 w 6616265"/>
              <a:gd name="connsiteY288" fmla="*/ 0 h 6843715"/>
              <a:gd name="connsiteX289" fmla="*/ 1814136 w 6616265"/>
              <a:gd name="connsiteY289" fmla="*/ 19519 h 6843715"/>
              <a:gd name="connsiteX290" fmla="*/ 1773490 w 6616265"/>
              <a:gd name="connsiteY290" fmla="*/ 60163 h 6843715"/>
              <a:gd name="connsiteX291" fmla="*/ 1732847 w 6616265"/>
              <a:gd name="connsiteY291" fmla="*/ 19519 h 68437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Lst>
            <a:rect l="l" t="t" r="r" b="b"/>
            <a:pathLst>
              <a:path w="6616265" h="6843715">
                <a:moveTo>
                  <a:pt x="629011" y="6807681"/>
                </a:moveTo>
                <a:cubicBezTo>
                  <a:pt x="645785" y="6807681"/>
                  <a:pt x="661430" y="6813003"/>
                  <a:pt x="674414" y="6821955"/>
                </a:cubicBezTo>
                <a:lnTo>
                  <a:pt x="692183" y="6843715"/>
                </a:lnTo>
                <a:lnTo>
                  <a:pt x="566186" y="6843715"/>
                </a:lnTo>
                <a:lnTo>
                  <a:pt x="583691" y="6821713"/>
                </a:lnTo>
                <a:cubicBezTo>
                  <a:pt x="596593" y="6812842"/>
                  <a:pt x="612238" y="6807681"/>
                  <a:pt x="629011" y="6807681"/>
                </a:cubicBezTo>
                <a:close/>
                <a:moveTo>
                  <a:pt x="1201250" y="6737360"/>
                </a:moveTo>
                <a:cubicBezTo>
                  <a:pt x="1255926" y="6737360"/>
                  <a:pt x="1304070" y="6766754"/>
                  <a:pt x="1330440" y="6810301"/>
                </a:cubicBezTo>
                <a:lnTo>
                  <a:pt x="1343433" y="6843715"/>
                </a:lnTo>
                <a:lnTo>
                  <a:pt x="1059118" y="6843715"/>
                </a:lnTo>
                <a:lnTo>
                  <a:pt x="1072333" y="6810029"/>
                </a:lnTo>
                <a:cubicBezTo>
                  <a:pt x="1098794" y="6766391"/>
                  <a:pt x="1146575" y="6737360"/>
                  <a:pt x="1201250" y="6737360"/>
                </a:cubicBezTo>
                <a:close/>
                <a:moveTo>
                  <a:pt x="56772" y="6273505"/>
                </a:moveTo>
                <a:cubicBezTo>
                  <a:pt x="79998" y="6273505"/>
                  <a:pt x="99350" y="6292215"/>
                  <a:pt x="99350" y="6316084"/>
                </a:cubicBezTo>
                <a:cubicBezTo>
                  <a:pt x="99350" y="6339309"/>
                  <a:pt x="80642" y="6358663"/>
                  <a:pt x="56772" y="6358663"/>
                </a:cubicBezTo>
                <a:cubicBezTo>
                  <a:pt x="33547" y="6358663"/>
                  <a:pt x="14192" y="6339955"/>
                  <a:pt x="14192" y="6316084"/>
                </a:cubicBezTo>
                <a:cubicBezTo>
                  <a:pt x="14192" y="6292860"/>
                  <a:pt x="32902" y="6273505"/>
                  <a:pt x="56772" y="6273505"/>
                </a:cubicBezTo>
                <a:close/>
                <a:moveTo>
                  <a:pt x="629011" y="6216087"/>
                </a:moveTo>
                <a:cubicBezTo>
                  <a:pt x="684494" y="6216087"/>
                  <a:pt x="729008" y="6260601"/>
                  <a:pt x="729008" y="6316083"/>
                </a:cubicBezTo>
                <a:cubicBezTo>
                  <a:pt x="729008" y="6371565"/>
                  <a:pt x="684494" y="6416081"/>
                  <a:pt x="629011" y="6416081"/>
                </a:cubicBezTo>
                <a:cubicBezTo>
                  <a:pt x="573530" y="6416081"/>
                  <a:pt x="529015" y="6371565"/>
                  <a:pt x="529015" y="6316083"/>
                </a:cubicBezTo>
                <a:cubicBezTo>
                  <a:pt x="529015" y="6260601"/>
                  <a:pt x="573530" y="6216087"/>
                  <a:pt x="629011" y="6216087"/>
                </a:cubicBezTo>
                <a:close/>
                <a:moveTo>
                  <a:pt x="1201251" y="6134800"/>
                </a:moveTo>
                <a:cubicBezTo>
                  <a:pt x="1301248" y="6134800"/>
                  <a:pt x="1382536" y="6216087"/>
                  <a:pt x="1382536" y="6316084"/>
                </a:cubicBezTo>
                <a:cubicBezTo>
                  <a:pt x="1382536" y="6416081"/>
                  <a:pt x="1301248" y="6497368"/>
                  <a:pt x="1201251" y="6497368"/>
                </a:cubicBezTo>
                <a:cubicBezTo>
                  <a:pt x="1101255" y="6497368"/>
                  <a:pt x="1019967" y="6416081"/>
                  <a:pt x="1019967" y="6316084"/>
                </a:cubicBezTo>
                <a:cubicBezTo>
                  <a:pt x="1019967" y="6216087"/>
                  <a:pt x="1101255" y="6134800"/>
                  <a:pt x="1201251" y="6134800"/>
                </a:cubicBezTo>
                <a:close/>
                <a:moveTo>
                  <a:pt x="56773" y="5692879"/>
                </a:moveTo>
                <a:cubicBezTo>
                  <a:pt x="84514" y="5692879"/>
                  <a:pt x="107093" y="5715458"/>
                  <a:pt x="107738" y="5743845"/>
                </a:cubicBezTo>
                <a:cubicBezTo>
                  <a:pt x="107738" y="5772232"/>
                  <a:pt x="85159" y="5794811"/>
                  <a:pt x="56773" y="5794811"/>
                </a:cubicBezTo>
                <a:cubicBezTo>
                  <a:pt x="28385" y="5794811"/>
                  <a:pt x="5806" y="5772232"/>
                  <a:pt x="5806" y="5743845"/>
                </a:cubicBezTo>
                <a:cubicBezTo>
                  <a:pt x="5806" y="5715458"/>
                  <a:pt x="28385" y="5692879"/>
                  <a:pt x="56773" y="5692879"/>
                </a:cubicBezTo>
                <a:close/>
                <a:moveTo>
                  <a:pt x="629011" y="5627719"/>
                </a:moveTo>
                <a:cubicBezTo>
                  <a:pt x="692881" y="5627719"/>
                  <a:pt x="744491" y="5679331"/>
                  <a:pt x="744491" y="5743199"/>
                </a:cubicBezTo>
                <a:cubicBezTo>
                  <a:pt x="744491" y="5807068"/>
                  <a:pt x="692881" y="5858679"/>
                  <a:pt x="629011" y="5858679"/>
                </a:cubicBezTo>
                <a:cubicBezTo>
                  <a:pt x="565143" y="5858679"/>
                  <a:pt x="513532" y="5807068"/>
                  <a:pt x="513532" y="5743199"/>
                </a:cubicBezTo>
                <a:cubicBezTo>
                  <a:pt x="513532" y="5679331"/>
                  <a:pt x="565143" y="5627719"/>
                  <a:pt x="629011" y="5627719"/>
                </a:cubicBezTo>
                <a:close/>
                <a:moveTo>
                  <a:pt x="1201250" y="5539980"/>
                </a:moveTo>
                <a:cubicBezTo>
                  <a:pt x="1313506" y="5539980"/>
                  <a:pt x="1404470" y="5630945"/>
                  <a:pt x="1404470" y="5743199"/>
                </a:cubicBezTo>
                <a:cubicBezTo>
                  <a:pt x="1404470" y="5855453"/>
                  <a:pt x="1313506" y="5946419"/>
                  <a:pt x="1201250" y="5946419"/>
                </a:cubicBezTo>
                <a:cubicBezTo>
                  <a:pt x="1088996" y="5946419"/>
                  <a:pt x="998031" y="5855453"/>
                  <a:pt x="998031" y="5743199"/>
                </a:cubicBezTo>
                <a:cubicBezTo>
                  <a:pt x="998031" y="5630945"/>
                  <a:pt x="1088996" y="5539980"/>
                  <a:pt x="1201250" y="5539980"/>
                </a:cubicBezTo>
                <a:close/>
                <a:moveTo>
                  <a:pt x="56772" y="5114188"/>
                </a:moveTo>
                <a:cubicBezTo>
                  <a:pt x="87739" y="5114188"/>
                  <a:pt x="113543" y="5139348"/>
                  <a:pt x="113543" y="5170960"/>
                </a:cubicBezTo>
                <a:cubicBezTo>
                  <a:pt x="113543" y="5201927"/>
                  <a:pt x="88383" y="5227732"/>
                  <a:pt x="56772" y="5227732"/>
                </a:cubicBezTo>
                <a:cubicBezTo>
                  <a:pt x="25805" y="5227732"/>
                  <a:pt x="0" y="5202572"/>
                  <a:pt x="0" y="5170960"/>
                </a:cubicBezTo>
                <a:cubicBezTo>
                  <a:pt x="0" y="5139993"/>
                  <a:pt x="25160" y="5114188"/>
                  <a:pt x="56772" y="5114188"/>
                </a:cubicBezTo>
                <a:close/>
                <a:moveTo>
                  <a:pt x="629011" y="5045803"/>
                </a:moveTo>
                <a:cubicBezTo>
                  <a:pt x="698041" y="5045803"/>
                  <a:pt x="754168" y="5101931"/>
                  <a:pt x="754168" y="5170960"/>
                </a:cubicBezTo>
                <a:cubicBezTo>
                  <a:pt x="754168" y="5239990"/>
                  <a:pt x="698041" y="5296117"/>
                  <a:pt x="629011" y="5296117"/>
                </a:cubicBezTo>
                <a:cubicBezTo>
                  <a:pt x="559981" y="5296117"/>
                  <a:pt x="503854" y="5239990"/>
                  <a:pt x="503854" y="5170960"/>
                </a:cubicBezTo>
                <a:cubicBezTo>
                  <a:pt x="503854" y="5101931"/>
                  <a:pt x="559981" y="5045803"/>
                  <a:pt x="629011" y="5045803"/>
                </a:cubicBezTo>
                <a:close/>
                <a:moveTo>
                  <a:pt x="1201250" y="4954192"/>
                </a:moveTo>
                <a:cubicBezTo>
                  <a:pt x="1291247" y="4954192"/>
                  <a:pt x="1368181" y="5008627"/>
                  <a:pt x="1401022" y="5086466"/>
                </a:cubicBezTo>
                <a:lnTo>
                  <a:pt x="1410074" y="5131470"/>
                </a:lnTo>
                <a:lnTo>
                  <a:pt x="1406404" y="5157374"/>
                </a:lnTo>
                <a:lnTo>
                  <a:pt x="1412511" y="5198249"/>
                </a:lnTo>
                <a:lnTo>
                  <a:pt x="1401022" y="5255180"/>
                </a:lnTo>
                <a:cubicBezTo>
                  <a:pt x="1368181" y="5332931"/>
                  <a:pt x="1291247" y="5387727"/>
                  <a:pt x="1201250" y="5387727"/>
                </a:cubicBezTo>
                <a:cubicBezTo>
                  <a:pt x="1081899" y="5387727"/>
                  <a:pt x="984484" y="5290955"/>
                  <a:pt x="984484" y="5170959"/>
                </a:cubicBezTo>
                <a:cubicBezTo>
                  <a:pt x="984484" y="5051608"/>
                  <a:pt x="1081254" y="4954192"/>
                  <a:pt x="1201250" y="4954192"/>
                </a:cubicBezTo>
                <a:close/>
                <a:moveTo>
                  <a:pt x="56772" y="4541948"/>
                </a:moveTo>
                <a:cubicBezTo>
                  <a:pt x="87739" y="4541948"/>
                  <a:pt x="113543" y="4567108"/>
                  <a:pt x="113543" y="4598720"/>
                </a:cubicBezTo>
                <a:cubicBezTo>
                  <a:pt x="113543" y="4629687"/>
                  <a:pt x="88383" y="4655492"/>
                  <a:pt x="56772" y="4655492"/>
                </a:cubicBezTo>
                <a:cubicBezTo>
                  <a:pt x="25805" y="4655492"/>
                  <a:pt x="0" y="4630332"/>
                  <a:pt x="0" y="4598720"/>
                </a:cubicBezTo>
                <a:cubicBezTo>
                  <a:pt x="0" y="4567753"/>
                  <a:pt x="25160" y="4541948"/>
                  <a:pt x="56772" y="4541948"/>
                </a:cubicBezTo>
                <a:close/>
                <a:moveTo>
                  <a:pt x="629011" y="4471628"/>
                </a:moveTo>
                <a:cubicBezTo>
                  <a:pt x="698687" y="4471628"/>
                  <a:pt x="755461" y="4528400"/>
                  <a:pt x="756105" y="4598720"/>
                </a:cubicBezTo>
                <a:cubicBezTo>
                  <a:pt x="756105" y="4669042"/>
                  <a:pt x="699333" y="4725814"/>
                  <a:pt x="629011" y="4725814"/>
                </a:cubicBezTo>
                <a:cubicBezTo>
                  <a:pt x="558691" y="4725814"/>
                  <a:pt x="501919" y="4669042"/>
                  <a:pt x="501919" y="4598720"/>
                </a:cubicBezTo>
                <a:cubicBezTo>
                  <a:pt x="501919" y="4528400"/>
                  <a:pt x="558691" y="4471628"/>
                  <a:pt x="629011" y="4471628"/>
                </a:cubicBezTo>
                <a:close/>
                <a:moveTo>
                  <a:pt x="1201250" y="4380018"/>
                </a:moveTo>
                <a:cubicBezTo>
                  <a:pt x="1291731" y="4380018"/>
                  <a:pt x="1369511" y="4435178"/>
                  <a:pt x="1402746" y="4513653"/>
                </a:cubicBezTo>
                <a:lnTo>
                  <a:pt x="1409763" y="4548338"/>
                </a:lnTo>
                <a:lnTo>
                  <a:pt x="1404469" y="4585134"/>
                </a:lnTo>
                <a:lnTo>
                  <a:pt x="1411993" y="4638076"/>
                </a:lnTo>
                <a:lnTo>
                  <a:pt x="1402746" y="4683789"/>
                </a:lnTo>
                <a:cubicBezTo>
                  <a:pt x="1369511" y="4762264"/>
                  <a:pt x="1291731" y="4817424"/>
                  <a:pt x="1201250" y="4817424"/>
                </a:cubicBezTo>
                <a:cubicBezTo>
                  <a:pt x="1080609" y="4817424"/>
                  <a:pt x="982548" y="4719362"/>
                  <a:pt x="982548" y="4598720"/>
                </a:cubicBezTo>
                <a:cubicBezTo>
                  <a:pt x="982548" y="4478079"/>
                  <a:pt x="1080609" y="4380018"/>
                  <a:pt x="1201250" y="4380018"/>
                </a:cubicBezTo>
                <a:close/>
                <a:moveTo>
                  <a:pt x="56772" y="3971645"/>
                </a:moveTo>
                <a:cubicBezTo>
                  <a:pt x="87093" y="3971645"/>
                  <a:pt x="111609" y="3996160"/>
                  <a:pt x="111609" y="4026482"/>
                </a:cubicBezTo>
                <a:cubicBezTo>
                  <a:pt x="111609" y="4056803"/>
                  <a:pt x="87093" y="4081319"/>
                  <a:pt x="56772" y="4081319"/>
                </a:cubicBezTo>
                <a:cubicBezTo>
                  <a:pt x="26450" y="4081319"/>
                  <a:pt x="1935" y="4056803"/>
                  <a:pt x="1935" y="4026482"/>
                </a:cubicBezTo>
                <a:cubicBezTo>
                  <a:pt x="1935" y="3996160"/>
                  <a:pt x="26450" y="3971645"/>
                  <a:pt x="56772" y="3971645"/>
                </a:cubicBezTo>
                <a:close/>
                <a:moveTo>
                  <a:pt x="629011" y="3905840"/>
                </a:moveTo>
                <a:cubicBezTo>
                  <a:pt x="695461" y="3905840"/>
                  <a:pt x="749008" y="3959386"/>
                  <a:pt x="749008" y="4025836"/>
                </a:cubicBezTo>
                <a:cubicBezTo>
                  <a:pt x="749008" y="4092286"/>
                  <a:pt x="695461" y="4145833"/>
                  <a:pt x="629011" y="4145833"/>
                </a:cubicBezTo>
                <a:cubicBezTo>
                  <a:pt x="562561" y="4145833"/>
                  <a:pt x="509015" y="4092286"/>
                  <a:pt x="509015" y="4025836"/>
                </a:cubicBezTo>
                <a:cubicBezTo>
                  <a:pt x="509015" y="3959386"/>
                  <a:pt x="562561" y="3905840"/>
                  <a:pt x="629011" y="3905840"/>
                </a:cubicBezTo>
                <a:close/>
                <a:moveTo>
                  <a:pt x="1203892" y="3814493"/>
                </a:moveTo>
                <a:cubicBezTo>
                  <a:pt x="1302314" y="3815635"/>
                  <a:pt x="1389676" y="3885701"/>
                  <a:pt x="1409012" y="3986119"/>
                </a:cubicBezTo>
                <a:lnTo>
                  <a:pt x="1410785" y="4005809"/>
                </a:lnTo>
                <a:lnTo>
                  <a:pt x="1410276" y="4012250"/>
                </a:lnTo>
                <a:lnTo>
                  <a:pt x="1412759" y="4029675"/>
                </a:lnTo>
                <a:lnTo>
                  <a:pt x="1408258" y="4070146"/>
                </a:lnTo>
                <a:cubicBezTo>
                  <a:pt x="1391074" y="4150802"/>
                  <a:pt x="1327302" y="4217356"/>
                  <a:pt x="1241229" y="4233930"/>
                </a:cubicBezTo>
                <a:cubicBezTo>
                  <a:pt x="1126467" y="4256030"/>
                  <a:pt x="1015518" y="4180911"/>
                  <a:pt x="993420" y="4066148"/>
                </a:cubicBezTo>
                <a:cubicBezTo>
                  <a:pt x="971319" y="3951384"/>
                  <a:pt x="1046437" y="3840435"/>
                  <a:pt x="1161200" y="3818336"/>
                </a:cubicBezTo>
                <a:cubicBezTo>
                  <a:pt x="1175546" y="3815574"/>
                  <a:pt x="1189832" y="3814330"/>
                  <a:pt x="1203892" y="3814493"/>
                </a:cubicBezTo>
                <a:close/>
                <a:moveTo>
                  <a:pt x="56773" y="3404567"/>
                </a:moveTo>
                <a:cubicBezTo>
                  <a:pt x="83868" y="3404567"/>
                  <a:pt x="105802" y="3426502"/>
                  <a:pt x="105802" y="3453598"/>
                </a:cubicBezTo>
                <a:cubicBezTo>
                  <a:pt x="105802" y="3480693"/>
                  <a:pt x="83868" y="3502627"/>
                  <a:pt x="56773" y="3502627"/>
                </a:cubicBezTo>
                <a:cubicBezTo>
                  <a:pt x="29677" y="3502627"/>
                  <a:pt x="7742" y="3480693"/>
                  <a:pt x="7742" y="3453598"/>
                </a:cubicBezTo>
                <a:cubicBezTo>
                  <a:pt x="7742" y="3426502"/>
                  <a:pt x="29677" y="3404567"/>
                  <a:pt x="56773" y="3404567"/>
                </a:cubicBezTo>
                <a:close/>
                <a:moveTo>
                  <a:pt x="629011" y="3346504"/>
                </a:moveTo>
                <a:cubicBezTo>
                  <a:pt x="688364" y="3346504"/>
                  <a:pt x="736105" y="3394245"/>
                  <a:pt x="736105" y="3453598"/>
                </a:cubicBezTo>
                <a:cubicBezTo>
                  <a:pt x="736105" y="3512951"/>
                  <a:pt x="688364" y="3560691"/>
                  <a:pt x="629011" y="3560691"/>
                </a:cubicBezTo>
                <a:cubicBezTo>
                  <a:pt x="569658" y="3560691"/>
                  <a:pt x="521918" y="3512951"/>
                  <a:pt x="521918" y="3453598"/>
                </a:cubicBezTo>
                <a:cubicBezTo>
                  <a:pt x="521918" y="3394245"/>
                  <a:pt x="569658" y="3346504"/>
                  <a:pt x="629011" y="3346504"/>
                </a:cubicBezTo>
                <a:close/>
                <a:moveTo>
                  <a:pt x="1202686" y="3262070"/>
                </a:moveTo>
                <a:cubicBezTo>
                  <a:pt x="1277355" y="3262626"/>
                  <a:pt x="1347997" y="3307073"/>
                  <a:pt x="1378371" y="3380400"/>
                </a:cubicBezTo>
                <a:cubicBezTo>
                  <a:pt x="1418869" y="3478168"/>
                  <a:pt x="1372441" y="3590255"/>
                  <a:pt x="1274673" y="3630753"/>
                </a:cubicBezTo>
                <a:cubicBezTo>
                  <a:pt x="1176904" y="3671251"/>
                  <a:pt x="1064816" y="3624824"/>
                  <a:pt x="1024320" y="3527055"/>
                </a:cubicBezTo>
                <a:cubicBezTo>
                  <a:pt x="983821" y="3429287"/>
                  <a:pt x="1030249" y="3317199"/>
                  <a:pt x="1128017" y="3276702"/>
                </a:cubicBezTo>
                <a:cubicBezTo>
                  <a:pt x="1152459" y="3266578"/>
                  <a:pt x="1177796" y="3261886"/>
                  <a:pt x="1202686" y="3262070"/>
                </a:cubicBezTo>
                <a:close/>
                <a:moveTo>
                  <a:pt x="56772" y="2842650"/>
                </a:moveTo>
                <a:cubicBezTo>
                  <a:pt x="78062" y="2842650"/>
                  <a:pt x="95481" y="2860069"/>
                  <a:pt x="95481" y="2881358"/>
                </a:cubicBezTo>
                <a:cubicBezTo>
                  <a:pt x="95481" y="2902648"/>
                  <a:pt x="78062" y="2920067"/>
                  <a:pt x="56772" y="2920067"/>
                </a:cubicBezTo>
                <a:cubicBezTo>
                  <a:pt x="34837" y="2920067"/>
                  <a:pt x="18064" y="2902648"/>
                  <a:pt x="18064" y="2881358"/>
                </a:cubicBezTo>
                <a:cubicBezTo>
                  <a:pt x="18064" y="2860069"/>
                  <a:pt x="35482" y="2842650"/>
                  <a:pt x="56772" y="2842650"/>
                </a:cubicBezTo>
                <a:close/>
                <a:moveTo>
                  <a:pt x="629011" y="2794264"/>
                </a:moveTo>
                <a:cubicBezTo>
                  <a:pt x="676752" y="2794264"/>
                  <a:pt x="716105" y="2832972"/>
                  <a:pt x="716105" y="2881358"/>
                </a:cubicBezTo>
                <a:cubicBezTo>
                  <a:pt x="716105" y="2929098"/>
                  <a:pt x="677397" y="2968451"/>
                  <a:pt x="629011" y="2968451"/>
                </a:cubicBezTo>
                <a:cubicBezTo>
                  <a:pt x="580626" y="2968451"/>
                  <a:pt x="541273" y="2929744"/>
                  <a:pt x="541918" y="2881358"/>
                </a:cubicBezTo>
                <a:cubicBezTo>
                  <a:pt x="541918" y="2833617"/>
                  <a:pt x="580626" y="2794264"/>
                  <a:pt x="629011" y="2794264"/>
                </a:cubicBezTo>
                <a:close/>
                <a:moveTo>
                  <a:pt x="1201251" y="2715556"/>
                </a:moveTo>
                <a:cubicBezTo>
                  <a:pt x="1292862" y="2715556"/>
                  <a:pt x="1367053" y="2789748"/>
                  <a:pt x="1367053" y="2881358"/>
                </a:cubicBezTo>
                <a:cubicBezTo>
                  <a:pt x="1367053" y="2972968"/>
                  <a:pt x="1292862" y="3047159"/>
                  <a:pt x="1201251" y="3047159"/>
                </a:cubicBezTo>
                <a:cubicBezTo>
                  <a:pt x="1109641" y="3047159"/>
                  <a:pt x="1035450" y="2972968"/>
                  <a:pt x="1035450" y="2881358"/>
                </a:cubicBezTo>
                <a:cubicBezTo>
                  <a:pt x="1035450" y="2789748"/>
                  <a:pt x="1109641" y="2715556"/>
                  <a:pt x="1201251" y="2715556"/>
                </a:cubicBezTo>
                <a:close/>
                <a:moveTo>
                  <a:pt x="629011" y="2240733"/>
                </a:moveTo>
                <a:cubicBezTo>
                  <a:pt x="666430" y="2240733"/>
                  <a:pt x="696752" y="2271056"/>
                  <a:pt x="696752" y="2308473"/>
                </a:cubicBezTo>
                <a:cubicBezTo>
                  <a:pt x="696752" y="2345890"/>
                  <a:pt x="666430" y="2376215"/>
                  <a:pt x="629011" y="2376215"/>
                </a:cubicBezTo>
                <a:cubicBezTo>
                  <a:pt x="591594" y="2376215"/>
                  <a:pt x="561272" y="2345890"/>
                  <a:pt x="561272" y="2308473"/>
                </a:cubicBezTo>
                <a:cubicBezTo>
                  <a:pt x="561272" y="2271056"/>
                  <a:pt x="591594" y="2240733"/>
                  <a:pt x="629011" y="2240733"/>
                </a:cubicBezTo>
                <a:close/>
                <a:moveTo>
                  <a:pt x="1201250" y="2176227"/>
                </a:moveTo>
                <a:cubicBezTo>
                  <a:pt x="1274151" y="2176227"/>
                  <a:pt x="1333504" y="2235577"/>
                  <a:pt x="1333504" y="2308480"/>
                </a:cubicBezTo>
                <a:cubicBezTo>
                  <a:pt x="1333504" y="2381376"/>
                  <a:pt x="1274151" y="2440726"/>
                  <a:pt x="1201250" y="2440726"/>
                </a:cubicBezTo>
                <a:cubicBezTo>
                  <a:pt x="1128349" y="2440726"/>
                  <a:pt x="1068997" y="2382023"/>
                  <a:pt x="1068997" y="2308480"/>
                </a:cubicBezTo>
                <a:cubicBezTo>
                  <a:pt x="1068997" y="2235577"/>
                  <a:pt x="1128349" y="2176227"/>
                  <a:pt x="1201250" y="2176227"/>
                </a:cubicBezTo>
                <a:close/>
                <a:moveTo>
                  <a:pt x="1773490" y="2088481"/>
                </a:moveTo>
                <a:cubicBezTo>
                  <a:pt x="1864456" y="2088481"/>
                  <a:pt x="1942719" y="2144006"/>
                  <a:pt x="1976166" y="2222936"/>
                </a:cubicBezTo>
                <a:lnTo>
                  <a:pt x="1987399" y="2278426"/>
                </a:lnTo>
                <a:lnTo>
                  <a:pt x="1985740" y="2294891"/>
                </a:lnTo>
                <a:lnTo>
                  <a:pt x="1989817" y="2326586"/>
                </a:lnTo>
                <a:lnTo>
                  <a:pt x="1976166" y="2394018"/>
                </a:lnTo>
                <a:cubicBezTo>
                  <a:pt x="1942719" y="2472946"/>
                  <a:pt x="1864456" y="2528464"/>
                  <a:pt x="1773490" y="2528464"/>
                </a:cubicBezTo>
                <a:cubicBezTo>
                  <a:pt x="1652204" y="2528464"/>
                  <a:pt x="1553498" y="2430406"/>
                  <a:pt x="1553498" y="2308473"/>
                </a:cubicBezTo>
                <a:cubicBezTo>
                  <a:pt x="1553498" y="2187186"/>
                  <a:pt x="1652204" y="2088481"/>
                  <a:pt x="1773490" y="2088481"/>
                </a:cubicBezTo>
                <a:close/>
                <a:moveTo>
                  <a:pt x="629011" y="1688493"/>
                </a:moveTo>
                <a:cubicBezTo>
                  <a:pt x="655462" y="1688493"/>
                  <a:pt x="676752" y="1709783"/>
                  <a:pt x="676752" y="1736234"/>
                </a:cubicBezTo>
                <a:cubicBezTo>
                  <a:pt x="676752" y="1762684"/>
                  <a:pt x="655462" y="1783975"/>
                  <a:pt x="629011" y="1783975"/>
                </a:cubicBezTo>
                <a:cubicBezTo>
                  <a:pt x="602561" y="1783975"/>
                  <a:pt x="581271" y="1762684"/>
                  <a:pt x="581271" y="1736234"/>
                </a:cubicBezTo>
                <a:cubicBezTo>
                  <a:pt x="581271" y="1709783"/>
                  <a:pt x="602561" y="1688493"/>
                  <a:pt x="629011" y="1688493"/>
                </a:cubicBezTo>
                <a:close/>
                <a:moveTo>
                  <a:pt x="1201250" y="1639465"/>
                </a:moveTo>
                <a:cubicBezTo>
                  <a:pt x="1254798" y="1639465"/>
                  <a:pt x="1298022" y="1682692"/>
                  <a:pt x="1298022" y="1736237"/>
                </a:cubicBezTo>
                <a:cubicBezTo>
                  <a:pt x="1298022" y="1789784"/>
                  <a:pt x="1254798" y="1833008"/>
                  <a:pt x="1201250" y="1833008"/>
                </a:cubicBezTo>
                <a:cubicBezTo>
                  <a:pt x="1147704" y="1833008"/>
                  <a:pt x="1104480" y="1789784"/>
                  <a:pt x="1104480" y="1736237"/>
                </a:cubicBezTo>
                <a:cubicBezTo>
                  <a:pt x="1104480" y="1682692"/>
                  <a:pt x="1147704" y="1639465"/>
                  <a:pt x="1201250" y="1639465"/>
                </a:cubicBezTo>
                <a:close/>
                <a:moveTo>
                  <a:pt x="1741933" y="1572389"/>
                </a:moveTo>
                <a:cubicBezTo>
                  <a:pt x="1832555" y="1554938"/>
                  <a:pt x="1920163" y="1614255"/>
                  <a:pt x="1937614" y="1704875"/>
                </a:cubicBezTo>
                <a:cubicBezTo>
                  <a:pt x="1955064" y="1795496"/>
                  <a:pt x="1895749" y="1883105"/>
                  <a:pt x="1805127" y="1900555"/>
                </a:cubicBezTo>
                <a:cubicBezTo>
                  <a:pt x="1714507" y="1918005"/>
                  <a:pt x="1626897" y="1858692"/>
                  <a:pt x="1609447" y="1768068"/>
                </a:cubicBezTo>
                <a:cubicBezTo>
                  <a:pt x="1591996" y="1677449"/>
                  <a:pt x="1651313" y="1589840"/>
                  <a:pt x="1741933" y="1572389"/>
                </a:cubicBezTo>
                <a:close/>
                <a:moveTo>
                  <a:pt x="1189474" y="1102707"/>
                </a:moveTo>
                <a:cubicBezTo>
                  <a:pt x="1223414" y="1096172"/>
                  <a:pt x="1256226" y="1118389"/>
                  <a:pt x="1262761" y="1152327"/>
                </a:cubicBezTo>
                <a:cubicBezTo>
                  <a:pt x="1269297" y="1186266"/>
                  <a:pt x="1247081" y="1219079"/>
                  <a:pt x="1213141" y="1225613"/>
                </a:cubicBezTo>
                <a:cubicBezTo>
                  <a:pt x="1179203" y="1232150"/>
                  <a:pt x="1146392" y="1209934"/>
                  <a:pt x="1139856" y="1175994"/>
                </a:cubicBezTo>
                <a:cubicBezTo>
                  <a:pt x="1133320" y="1142055"/>
                  <a:pt x="1155536" y="1109244"/>
                  <a:pt x="1189474" y="1102707"/>
                </a:cubicBezTo>
                <a:close/>
                <a:moveTo>
                  <a:pt x="1773490" y="1043355"/>
                </a:moveTo>
                <a:cubicBezTo>
                  <a:pt x="1839939" y="1043355"/>
                  <a:pt x="1894132" y="1097545"/>
                  <a:pt x="1894132" y="1163996"/>
                </a:cubicBezTo>
                <a:cubicBezTo>
                  <a:pt x="1894132" y="1230445"/>
                  <a:pt x="1839939" y="1284638"/>
                  <a:pt x="1773490" y="1284638"/>
                </a:cubicBezTo>
                <a:cubicBezTo>
                  <a:pt x="1707040" y="1284638"/>
                  <a:pt x="1652849" y="1230445"/>
                  <a:pt x="1652849" y="1163996"/>
                </a:cubicBezTo>
                <a:cubicBezTo>
                  <a:pt x="1652849" y="1097545"/>
                  <a:pt x="1707040" y="1043355"/>
                  <a:pt x="1773490" y="1043355"/>
                </a:cubicBezTo>
                <a:close/>
                <a:moveTo>
                  <a:pt x="2346375" y="973034"/>
                </a:moveTo>
                <a:cubicBezTo>
                  <a:pt x="2451840" y="973034"/>
                  <a:pt x="2537336" y="1058530"/>
                  <a:pt x="2537336" y="1163996"/>
                </a:cubicBezTo>
                <a:cubicBezTo>
                  <a:pt x="2537336" y="1269461"/>
                  <a:pt x="2451840" y="1354957"/>
                  <a:pt x="2346375" y="1354957"/>
                </a:cubicBezTo>
                <a:cubicBezTo>
                  <a:pt x="2240910" y="1354957"/>
                  <a:pt x="2155413" y="1269461"/>
                  <a:pt x="2155413" y="1163996"/>
                </a:cubicBezTo>
                <a:cubicBezTo>
                  <a:pt x="2155413" y="1058530"/>
                  <a:pt x="2240910" y="973034"/>
                  <a:pt x="2346375" y="973034"/>
                </a:cubicBezTo>
                <a:close/>
                <a:moveTo>
                  <a:pt x="1201251" y="554986"/>
                </a:moveTo>
                <a:cubicBezTo>
                  <a:pt x="1221250" y="554986"/>
                  <a:pt x="1238024" y="571759"/>
                  <a:pt x="1238024" y="591758"/>
                </a:cubicBezTo>
                <a:cubicBezTo>
                  <a:pt x="1238024" y="611758"/>
                  <a:pt x="1221250" y="628531"/>
                  <a:pt x="1201251" y="628531"/>
                </a:cubicBezTo>
                <a:cubicBezTo>
                  <a:pt x="1181252" y="628531"/>
                  <a:pt x="1164478" y="611758"/>
                  <a:pt x="1164478" y="591758"/>
                </a:cubicBezTo>
                <a:cubicBezTo>
                  <a:pt x="1164478" y="571759"/>
                  <a:pt x="1181252" y="554986"/>
                  <a:pt x="1201251" y="554986"/>
                </a:cubicBezTo>
                <a:close/>
                <a:moveTo>
                  <a:pt x="1773490" y="516275"/>
                </a:moveTo>
                <a:cubicBezTo>
                  <a:pt x="1815424" y="516275"/>
                  <a:pt x="1848972" y="549823"/>
                  <a:pt x="1848972" y="591757"/>
                </a:cubicBezTo>
                <a:cubicBezTo>
                  <a:pt x="1848972" y="633690"/>
                  <a:pt x="1815424" y="667238"/>
                  <a:pt x="1773490" y="667238"/>
                </a:cubicBezTo>
                <a:cubicBezTo>
                  <a:pt x="1732201" y="667238"/>
                  <a:pt x="1698009" y="633047"/>
                  <a:pt x="1698009" y="591757"/>
                </a:cubicBezTo>
                <a:cubicBezTo>
                  <a:pt x="1698009" y="549823"/>
                  <a:pt x="1731556" y="516275"/>
                  <a:pt x="1773490" y="516275"/>
                </a:cubicBezTo>
                <a:close/>
                <a:moveTo>
                  <a:pt x="2346375" y="462084"/>
                </a:moveTo>
                <a:cubicBezTo>
                  <a:pt x="2417986" y="462084"/>
                  <a:pt x="2476048" y="520146"/>
                  <a:pt x="2476048" y="591757"/>
                </a:cubicBezTo>
                <a:cubicBezTo>
                  <a:pt x="2476048" y="663367"/>
                  <a:pt x="2417986" y="721429"/>
                  <a:pt x="2346375" y="721429"/>
                </a:cubicBezTo>
                <a:cubicBezTo>
                  <a:pt x="2274764" y="721429"/>
                  <a:pt x="2216057" y="663367"/>
                  <a:pt x="2216701" y="591757"/>
                </a:cubicBezTo>
                <a:cubicBezTo>
                  <a:pt x="2216701" y="520146"/>
                  <a:pt x="2274764" y="462084"/>
                  <a:pt x="2346375" y="462084"/>
                </a:cubicBezTo>
                <a:close/>
                <a:moveTo>
                  <a:pt x="2918615" y="395638"/>
                </a:moveTo>
                <a:cubicBezTo>
                  <a:pt x="3026353" y="395638"/>
                  <a:pt x="3114093" y="483377"/>
                  <a:pt x="3114093" y="591115"/>
                </a:cubicBezTo>
                <a:cubicBezTo>
                  <a:pt x="3114093" y="698853"/>
                  <a:pt x="3026353" y="786593"/>
                  <a:pt x="2918615" y="786593"/>
                </a:cubicBezTo>
                <a:cubicBezTo>
                  <a:pt x="2810876" y="786593"/>
                  <a:pt x="2723138" y="699498"/>
                  <a:pt x="2723138" y="591115"/>
                </a:cubicBezTo>
                <a:cubicBezTo>
                  <a:pt x="2723138" y="483377"/>
                  <a:pt x="2810876" y="395638"/>
                  <a:pt x="2918615" y="395638"/>
                </a:cubicBezTo>
                <a:close/>
                <a:moveTo>
                  <a:pt x="4310583" y="0"/>
                </a:moveTo>
                <a:lnTo>
                  <a:pt x="6616265" y="0"/>
                </a:lnTo>
                <a:lnTo>
                  <a:pt x="6616265" y="6843715"/>
                </a:lnTo>
                <a:lnTo>
                  <a:pt x="1487341" y="6843715"/>
                </a:lnTo>
                <a:lnTo>
                  <a:pt x="1496539" y="6801672"/>
                </a:lnTo>
                <a:cubicBezTo>
                  <a:pt x="1527560" y="6703935"/>
                  <a:pt x="1618657" y="6632808"/>
                  <a:pt x="1727039" y="6632808"/>
                </a:cubicBezTo>
                <a:cubicBezTo>
                  <a:pt x="1847035" y="6632808"/>
                  <a:pt x="1946387" y="6719902"/>
                  <a:pt x="1965741" y="6834092"/>
                </a:cubicBezTo>
                <a:cubicBezTo>
                  <a:pt x="1976709" y="6743773"/>
                  <a:pt x="2023158" y="6665065"/>
                  <a:pt x="2090255" y="6611519"/>
                </a:cubicBezTo>
                <a:cubicBezTo>
                  <a:pt x="2034126" y="6573455"/>
                  <a:pt x="1988966" y="6521200"/>
                  <a:pt x="1960580" y="6459266"/>
                </a:cubicBezTo>
                <a:cubicBezTo>
                  <a:pt x="1910259" y="6534102"/>
                  <a:pt x="1824455" y="6583778"/>
                  <a:pt x="1727039" y="6583778"/>
                </a:cubicBezTo>
                <a:cubicBezTo>
                  <a:pt x="1571560" y="6583778"/>
                  <a:pt x="1445758" y="6457976"/>
                  <a:pt x="1445758" y="6302497"/>
                </a:cubicBezTo>
                <a:cubicBezTo>
                  <a:pt x="1445758" y="6170244"/>
                  <a:pt x="1536078" y="6059924"/>
                  <a:pt x="1658654" y="6029603"/>
                </a:cubicBezTo>
                <a:cubicBezTo>
                  <a:pt x="1521884" y="5997991"/>
                  <a:pt x="1419307" y="5876060"/>
                  <a:pt x="1419307" y="5729612"/>
                </a:cubicBezTo>
                <a:cubicBezTo>
                  <a:pt x="1419307" y="5606391"/>
                  <a:pt x="1492853" y="5499943"/>
                  <a:pt x="1598012" y="5450912"/>
                </a:cubicBezTo>
                <a:cubicBezTo>
                  <a:pt x="1513337" y="5413655"/>
                  <a:pt x="1447894" y="5340835"/>
                  <a:pt x="1420467" y="5251503"/>
                </a:cubicBezTo>
                <a:lnTo>
                  <a:pt x="1412511" y="5198249"/>
                </a:lnTo>
                <a:lnTo>
                  <a:pt x="1418018" y="5170959"/>
                </a:lnTo>
                <a:lnTo>
                  <a:pt x="1410074" y="5131470"/>
                </a:lnTo>
                <a:lnTo>
                  <a:pt x="1419106" y="5067729"/>
                </a:lnTo>
                <a:cubicBezTo>
                  <a:pt x="1443902" y="4982420"/>
                  <a:pt x="1503175" y="4911898"/>
                  <a:pt x="1580592" y="4872221"/>
                </a:cubicBezTo>
                <a:cubicBezTo>
                  <a:pt x="1502208" y="4832546"/>
                  <a:pt x="1442330" y="4761298"/>
                  <a:pt x="1417291" y="4675353"/>
                </a:cubicBezTo>
                <a:lnTo>
                  <a:pt x="1411993" y="4638076"/>
                </a:lnTo>
                <a:lnTo>
                  <a:pt x="1419954" y="4598720"/>
                </a:lnTo>
                <a:lnTo>
                  <a:pt x="1409763" y="4548338"/>
                </a:lnTo>
                <a:lnTo>
                  <a:pt x="1417623" y="4493696"/>
                </a:lnTo>
                <a:cubicBezTo>
                  <a:pt x="1443297" y="4406753"/>
                  <a:pt x="1504626" y="4335143"/>
                  <a:pt x="1584463" y="4295466"/>
                </a:cubicBezTo>
                <a:cubicBezTo>
                  <a:pt x="1507047" y="4256273"/>
                  <a:pt x="1447775" y="4186235"/>
                  <a:pt x="1422978" y="4101409"/>
                </a:cubicBezTo>
                <a:lnTo>
                  <a:pt x="1412759" y="4029675"/>
                </a:lnTo>
                <a:lnTo>
                  <a:pt x="1412855" y="4028809"/>
                </a:lnTo>
                <a:lnTo>
                  <a:pt x="1410785" y="4005809"/>
                </a:lnTo>
                <a:lnTo>
                  <a:pt x="1414258" y="3961788"/>
                </a:lnTo>
                <a:cubicBezTo>
                  <a:pt x="1432604" y="3846780"/>
                  <a:pt x="1512692" y="3752580"/>
                  <a:pt x="1619945" y="3714195"/>
                </a:cubicBezTo>
                <a:cubicBezTo>
                  <a:pt x="1510272" y="3670971"/>
                  <a:pt x="1432210" y="3564522"/>
                  <a:pt x="1432210" y="3440010"/>
                </a:cubicBezTo>
                <a:cubicBezTo>
                  <a:pt x="1432210" y="3276790"/>
                  <a:pt x="1564463" y="3145181"/>
                  <a:pt x="1727039" y="3145181"/>
                </a:cubicBezTo>
                <a:cubicBezTo>
                  <a:pt x="1821230" y="3145181"/>
                  <a:pt x="1905097" y="3189695"/>
                  <a:pt x="1959290" y="3259371"/>
                </a:cubicBezTo>
                <a:cubicBezTo>
                  <a:pt x="1985740" y="3210340"/>
                  <a:pt x="2022513" y="3167116"/>
                  <a:pt x="2066382" y="3133569"/>
                </a:cubicBezTo>
                <a:cubicBezTo>
                  <a:pt x="2019932" y="3092925"/>
                  <a:pt x="1983805" y="3040023"/>
                  <a:pt x="1963805" y="2980026"/>
                </a:cubicBezTo>
                <a:cubicBezTo>
                  <a:pt x="1921226" y="3068409"/>
                  <a:pt x="1830907" y="3129697"/>
                  <a:pt x="1726393" y="3129697"/>
                </a:cubicBezTo>
                <a:cubicBezTo>
                  <a:pt x="1581237" y="3129697"/>
                  <a:pt x="1463822" y="3012282"/>
                  <a:pt x="1463822" y="2867126"/>
                </a:cubicBezTo>
                <a:cubicBezTo>
                  <a:pt x="1463822" y="2721969"/>
                  <a:pt x="1581237" y="2604554"/>
                  <a:pt x="1726393" y="2604554"/>
                </a:cubicBezTo>
                <a:cubicBezTo>
                  <a:pt x="1831551" y="2604554"/>
                  <a:pt x="1921871" y="2665843"/>
                  <a:pt x="1963805" y="2754227"/>
                </a:cubicBezTo>
                <a:cubicBezTo>
                  <a:pt x="1992191" y="2670358"/>
                  <a:pt x="2051544" y="2600038"/>
                  <a:pt x="2128316" y="2557458"/>
                </a:cubicBezTo>
                <a:cubicBezTo>
                  <a:pt x="2063964" y="2515365"/>
                  <a:pt x="2015941" y="2450406"/>
                  <a:pt x="1995952" y="2374289"/>
                </a:cubicBezTo>
                <a:lnTo>
                  <a:pt x="1989817" y="2326586"/>
                </a:lnTo>
                <a:lnTo>
                  <a:pt x="1993483" y="2308473"/>
                </a:lnTo>
                <a:lnTo>
                  <a:pt x="1987399" y="2278426"/>
                </a:lnTo>
                <a:lnTo>
                  <a:pt x="1992121" y="2231592"/>
                </a:lnTo>
                <a:cubicBezTo>
                  <a:pt x="2021404" y="2088536"/>
                  <a:pt x="2147992" y="1981352"/>
                  <a:pt x="2299279" y="1981352"/>
                </a:cubicBezTo>
                <a:cubicBezTo>
                  <a:pt x="2395404" y="1981352"/>
                  <a:pt x="2481208" y="2024578"/>
                  <a:pt x="2538627" y="2092962"/>
                </a:cubicBezTo>
                <a:cubicBezTo>
                  <a:pt x="2566368" y="2047155"/>
                  <a:pt x="2603785" y="2007158"/>
                  <a:pt x="2647655" y="1976190"/>
                </a:cubicBezTo>
                <a:cubicBezTo>
                  <a:pt x="2596689" y="1931031"/>
                  <a:pt x="2559270" y="1871032"/>
                  <a:pt x="2542497" y="1803293"/>
                </a:cubicBezTo>
                <a:cubicBezTo>
                  <a:pt x="2508305" y="1905871"/>
                  <a:pt x="2412178" y="1979417"/>
                  <a:pt x="2298633" y="1979417"/>
                </a:cubicBezTo>
                <a:cubicBezTo>
                  <a:pt x="2156057" y="1979417"/>
                  <a:pt x="2041223" y="1863936"/>
                  <a:pt x="2041223" y="1722003"/>
                </a:cubicBezTo>
                <a:cubicBezTo>
                  <a:pt x="2041223" y="1579429"/>
                  <a:pt x="2156703" y="1464593"/>
                  <a:pt x="2298633" y="1464593"/>
                </a:cubicBezTo>
                <a:cubicBezTo>
                  <a:pt x="2412178" y="1464593"/>
                  <a:pt x="2508305" y="1538784"/>
                  <a:pt x="2542497" y="1640718"/>
                </a:cubicBezTo>
                <a:cubicBezTo>
                  <a:pt x="2570240" y="1529109"/>
                  <a:pt x="2652816" y="1439433"/>
                  <a:pt x="2760555" y="1402016"/>
                </a:cubicBezTo>
                <a:cubicBezTo>
                  <a:pt x="2663138" y="1358789"/>
                  <a:pt x="2595400" y="1262019"/>
                  <a:pt x="2595400" y="1149118"/>
                </a:cubicBezTo>
                <a:cubicBezTo>
                  <a:pt x="2595400" y="996221"/>
                  <a:pt x="2719265" y="872997"/>
                  <a:pt x="2871517" y="872997"/>
                </a:cubicBezTo>
                <a:cubicBezTo>
                  <a:pt x="2983773" y="872997"/>
                  <a:pt x="3079897" y="939449"/>
                  <a:pt x="3123123" y="1035574"/>
                </a:cubicBezTo>
                <a:cubicBezTo>
                  <a:pt x="3159251" y="932997"/>
                  <a:pt x="3243119" y="853000"/>
                  <a:pt x="3348277" y="822035"/>
                </a:cubicBezTo>
                <a:cubicBezTo>
                  <a:pt x="3249571" y="783327"/>
                  <a:pt x="3179895" y="688491"/>
                  <a:pt x="3179895" y="576235"/>
                </a:cubicBezTo>
                <a:cubicBezTo>
                  <a:pt x="3179895" y="430434"/>
                  <a:pt x="3297955" y="312373"/>
                  <a:pt x="3443757" y="312373"/>
                </a:cubicBezTo>
                <a:cubicBezTo>
                  <a:pt x="3567623" y="312373"/>
                  <a:pt x="3672137" y="398822"/>
                  <a:pt x="3699877" y="514303"/>
                </a:cubicBezTo>
                <a:cubicBezTo>
                  <a:pt x="3728909" y="365921"/>
                  <a:pt x="3859227" y="254311"/>
                  <a:pt x="4015997" y="254311"/>
                </a:cubicBezTo>
                <a:cubicBezTo>
                  <a:pt x="4122445" y="254311"/>
                  <a:pt x="4216635" y="305923"/>
                  <a:pt x="4275343" y="385274"/>
                </a:cubicBezTo>
                <a:cubicBezTo>
                  <a:pt x="4314051" y="321405"/>
                  <a:pt x="4372759" y="270440"/>
                  <a:pt x="4441789" y="240118"/>
                </a:cubicBezTo>
                <a:cubicBezTo>
                  <a:pt x="4363083" y="191087"/>
                  <a:pt x="4310179" y="103993"/>
                  <a:pt x="4310179" y="3997"/>
                </a:cubicBezTo>
                <a:close/>
                <a:moveTo>
                  <a:pt x="3836709" y="0"/>
                </a:moveTo>
                <a:lnTo>
                  <a:pt x="4290765" y="0"/>
                </a:lnTo>
                <a:lnTo>
                  <a:pt x="4294697" y="19521"/>
                </a:lnTo>
                <a:cubicBezTo>
                  <a:pt x="4294697" y="147259"/>
                  <a:pt x="4191476" y="250481"/>
                  <a:pt x="4063739" y="250481"/>
                </a:cubicBezTo>
                <a:cubicBezTo>
                  <a:pt x="3935999" y="250481"/>
                  <a:pt x="3832133" y="146614"/>
                  <a:pt x="3832777" y="19521"/>
                </a:cubicBezTo>
                <a:close/>
                <a:moveTo>
                  <a:pt x="3315961" y="0"/>
                </a:moveTo>
                <a:lnTo>
                  <a:pt x="3665747" y="0"/>
                </a:lnTo>
                <a:lnTo>
                  <a:pt x="3669557" y="18877"/>
                </a:lnTo>
                <a:cubicBezTo>
                  <a:pt x="3669557" y="117572"/>
                  <a:pt x="3589549" y="197580"/>
                  <a:pt x="3490853" y="197580"/>
                </a:cubicBezTo>
                <a:cubicBezTo>
                  <a:pt x="3392157" y="197580"/>
                  <a:pt x="3312149" y="117572"/>
                  <a:pt x="3312149" y="18877"/>
                </a:cubicBezTo>
                <a:close/>
                <a:moveTo>
                  <a:pt x="2797407" y="0"/>
                </a:moveTo>
                <a:lnTo>
                  <a:pt x="3039823" y="0"/>
                </a:lnTo>
                <a:lnTo>
                  <a:pt x="3043771" y="19521"/>
                </a:lnTo>
                <a:cubicBezTo>
                  <a:pt x="3043771" y="88551"/>
                  <a:pt x="2987643" y="144678"/>
                  <a:pt x="2918615" y="144678"/>
                </a:cubicBezTo>
                <a:cubicBezTo>
                  <a:pt x="2849583" y="144678"/>
                  <a:pt x="2793457" y="88551"/>
                  <a:pt x="2793457" y="19521"/>
                </a:cubicBezTo>
                <a:close/>
                <a:moveTo>
                  <a:pt x="2274893" y="0"/>
                </a:moveTo>
                <a:lnTo>
                  <a:pt x="2417855" y="0"/>
                </a:lnTo>
                <a:lnTo>
                  <a:pt x="2421856" y="19518"/>
                </a:lnTo>
                <a:cubicBezTo>
                  <a:pt x="2421856" y="60807"/>
                  <a:pt x="2388308" y="94999"/>
                  <a:pt x="2346375" y="94999"/>
                </a:cubicBezTo>
                <a:cubicBezTo>
                  <a:pt x="2304440" y="94999"/>
                  <a:pt x="2270893" y="60807"/>
                  <a:pt x="2270893" y="19518"/>
                </a:cubicBezTo>
                <a:close/>
                <a:moveTo>
                  <a:pt x="1740884" y="0"/>
                </a:moveTo>
                <a:lnTo>
                  <a:pt x="1806098" y="0"/>
                </a:lnTo>
                <a:lnTo>
                  <a:pt x="1814136" y="19519"/>
                </a:lnTo>
                <a:cubicBezTo>
                  <a:pt x="1814136" y="42100"/>
                  <a:pt x="1796071" y="60163"/>
                  <a:pt x="1773490" y="60163"/>
                </a:cubicBezTo>
                <a:cubicBezTo>
                  <a:pt x="1750911" y="60163"/>
                  <a:pt x="1732847" y="41455"/>
                  <a:pt x="1732847" y="19519"/>
                </a:cubicBezTo>
                <a:close/>
              </a:path>
            </a:pathLst>
          </a:custGeom>
        </p:spPr>
        <p:txBody>
          <a:bodyPr wrap="square" anchor="ctr" anchorCtr="0">
            <a:noAutofit/>
          </a:bodyPr>
          <a:lstStyle>
            <a:lvl1pPr marL="0" indent="0" algn="ctr">
              <a:buNone/>
              <a:defRPr/>
            </a:lvl1pPr>
          </a:lstStyle>
          <a:p>
            <a:r>
              <a:rPr lang="en-US"/>
              <a:t>Add image</a:t>
            </a:r>
          </a:p>
        </p:txBody>
      </p:sp>
      <p:sp>
        <p:nvSpPr>
          <p:cNvPr id="10" name="Title 1">
            <a:extLst>
              <a:ext uri="{FF2B5EF4-FFF2-40B4-BE49-F238E27FC236}">
                <a16:creationId xmlns:a16="http://schemas.microsoft.com/office/drawing/2014/main" id="{404A15FC-D2AD-44A4-AC62-1D8C94F6F7A5}"/>
              </a:ext>
            </a:extLst>
          </p:cNvPr>
          <p:cNvSpPr>
            <a:spLocks noGrp="1"/>
          </p:cNvSpPr>
          <p:nvPr>
            <p:ph type="ctrTitle" hasCustomPrompt="1"/>
          </p:nvPr>
        </p:nvSpPr>
        <p:spPr>
          <a:xfrm>
            <a:off x="358774" y="1798637"/>
            <a:ext cx="5627689" cy="2173288"/>
          </a:xfrm>
        </p:spPr>
        <p:txBody>
          <a:bodyPr anchor="t" anchorCtr="0">
            <a:noAutofit/>
          </a:bodyPr>
          <a:lstStyle>
            <a:lvl1pPr algn="l">
              <a:defRPr sz="4800"/>
            </a:lvl1pPr>
          </a:lstStyle>
          <a:p>
            <a:r>
              <a:rPr lang="en-US"/>
              <a:t>Add session/event title</a:t>
            </a:r>
          </a:p>
        </p:txBody>
      </p:sp>
      <p:sp>
        <p:nvSpPr>
          <p:cNvPr id="11" name="Text Placeholder 4">
            <a:extLst>
              <a:ext uri="{FF2B5EF4-FFF2-40B4-BE49-F238E27FC236}">
                <a16:creationId xmlns:a16="http://schemas.microsoft.com/office/drawing/2014/main" id="{1DBC2EDC-359D-4273-A170-21DF97254FE7}"/>
              </a:ext>
            </a:extLst>
          </p:cNvPr>
          <p:cNvSpPr>
            <a:spLocks noGrp="1"/>
          </p:cNvSpPr>
          <p:nvPr>
            <p:ph type="body" sz="quarter" idx="11" hasCustomPrompt="1"/>
          </p:nvPr>
        </p:nvSpPr>
        <p:spPr>
          <a:xfrm>
            <a:off x="358776" y="4392000"/>
            <a:ext cx="5627688" cy="1620000"/>
          </a:xfrm>
        </p:spPr>
        <p:txBody>
          <a:bodyPr/>
          <a:lstStyle>
            <a:lvl1pPr marL="0" indent="0">
              <a:buNone/>
              <a:defRPr sz="4800">
                <a:latin typeface="+mn-lt"/>
              </a:defRPr>
            </a:lvl1pPr>
            <a:lvl2pPr marL="0" indent="0">
              <a:buNone/>
              <a:defRPr sz="4800">
                <a:latin typeface="+mn-lt"/>
              </a:defRPr>
            </a:lvl2pPr>
            <a:lvl3pPr marL="0" indent="0">
              <a:buNone/>
              <a:defRPr sz="4800">
                <a:latin typeface="+mn-lt"/>
              </a:defRPr>
            </a:lvl3pPr>
            <a:lvl4pPr marL="0" indent="0">
              <a:buNone/>
              <a:defRPr sz="4800">
                <a:latin typeface="+mn-lt"/>
              </a:defRPr>
            </a:lvl4pPr>
            <a:lvl5pPr marL="0" indent="0">
              <a:buNone/>
              <a:defRPr sz="4800">
                <a:latin typeface="+mn-lt"/>
              </a:defRPr>
            </a:lvl5pPr>
            <a:lvl6pPr marL="0" indent="0">
              <a:buNone/>
              <a:defRPr sz="4800"/>
            </a:lvl6pPr>
          </a:lstStyle>
          <a:p>
            <a:pPr lvl="0"/>
            <a:r>
              <a:rPr lang="en-US"/>
              <a:t>Add subtitle or date</a:t>
            </a:r>
          </a:p>
        </p:txBody>
      </p:sp>
      <p:pic>
        <p:nvPicPr>
          <p:cNvPr id="1850893390" name="image" descr="{&quot;templafy&quot;:{&quot;id&quot;:&quot;b22bc453-9a88-4b2e-9d4d-88e41702319b&quot;}}"/>
          <p:cNvPicPr>
            <a:picLocks noChangeAspect="1"/>
          </p:cNvPicPr>
          <p:nvPr/>
        </p:nvPicPr>
        <p:blipFill>
          <a:blip r:embed="rId3"/>
          <a:stretch>
            <a:fillRect/>
          </a:stretch>
        </p:blipFill>
        <p:spPr>
          <a:xfrm>
            <a:off x="357842" y="283850"/>
            <a:ext cx="2253600" cy="773055"/>
          </a:xfrm>
          <a:prstGeom prst="rect">
            <a:avLst/>
          </a:prstGeom>
        </p:spPr>
      </p:pic>
    </p:spTree>
    <p:extLst>
      <p:ext uri="{BB962C8B-B14F-4D97-AF65-F5344CB8AC3E}">
        <p14:creationId xmlns:p14="http://schemas.microsoft.com/office/powerpoint/2010/main" val="2453668686"/>
      </p:ext>
    </p:extLst>
  </p:cSld>
  <p:clrMapOvr>
    <a:masterClrMapping/>
  </p:clrMapOvr>
  <p:extLst>
    <p:ext uri="{DCECCB84-F9BA-43D5-87BE-67443E8EF086}">
      <p15:sldGuideLst xmlns:p15="http://schemas.microsoft.com/office/powerpoint/2012/main">
        <p15:guide id="1" orient="horz" pos="170" userDrawn="1">
          <p15:clr>
            <a:srgbClr val="717275"/>
          </p15:clr>
        </p15:guide>
        <p15:guide id="2" orient="horz" pos="777" userDrawn="1">
          <p15:clr>
            <a:srgbClr val="717275"/>
          </p15:clr>
        </p15:guide>
        <p15:guide id="3" orient="horz" pos="1133" userDrawn="1">
          <p15:clr>
            <a:srgbClr val="FF96FF"/>
          </p15:clr>
        </p15:guide>
        <p15:guide id="4" orient="horz" pos="3753" userDrawn="1">
          <p15:clr>
            <a:srgbClr val="FF96FF"/>
          </p15:clr>
        </p15:guide>
        <p15:guide id="5" pos="226" userDrawn="1">
          <p15:clr>
            <a:srgbClr val="FF96FF"/>
          </p15:clr>
        </p15:guide>
        <p15:guide id="6" pos="3771" userDrawn="1">
          <p15:clr>
            <a:srgbClr val="FF96FF"/>
          </p15:clr>
        </p15:guide>
        <p15:guide id="7" pos="3908" userDrawn="1">
          <p15:clr>
            <a:srgbClr val="FF96FF"/>
          </p15:clr>
        </p15:guide>
        <p15:guide id="8" pos="7453" userDrawn="1">
          <p15:clr>
            <a:srgbClr val="FF96FF"/>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2 Column">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431330590"/>
              </p:ext>
            </p:ext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name="think-cell Slide" r:id="rId3" imgW="216" imgH="216" progId="TCLayout.ActiveDocument.1">
                  <p:embed/>
                </p:oleObj>
              </mc:Choice>
              <mc:Fallback>
                <p:oleObj name="think-cell Slide" r:id="rId3" imgW="216" imgH="216" progId="TCLayout.ActiveDocument.1">
                  <p:embed/>
                  <p:pic>
                    <p:nvPicPr>
                      <p:cNvPr id="2" name="Object 1" hidden="1"/>
                      <p:cNvPicPr/>
                      <p:nvPr/>
                    </p:nvPicPr>
                    <p:blipFill>
                      <a:blip r:embed="rId4"/>
                      <a:stretch>
                        <a:fillRect/>
                      </a:stretch>
                    </p:blipFill>
                    <p:spPr>
                      <a:xfrm>
                        <a:off x="1955" y="1589"/>
                        <a:ext cx="1953" cy="1587"/>
                      </a:xfrm>
                      <a:prstGeom prst="rect">
                        <a:avLst/>
                      </a:prstGeom>
                    </p:spPr>
                  </p:pic>
                </p:oleObj>
              </mc:Fallback>
            </mc:AlternateContent>
          </a:graphicData>
        </a:graphic>
      </p:graphicFrame>
      <p:sp>
        <p:nvSpPr>
          <p:cNvPr id="10" name="Content Placeholder 2"/>
          <p:cNvSpPr>
            <a:spLocks noGrp="1"/>
          </p:cNvSpPr>
          <p:nvPr>
            <p:ph idx="13"/>
          </p:nvPr>
        </p:nvSpPr>
        <p:spPr>
          <a:xfrm>
            <a:off x="664615" y="1463039"/>
            <a:ext cx="5323215" cy="4782312"/>
          </a:xfrm>
        </p:spPr>
        <p:txBody>
          <a:bodyPr lIns="0">
            <a:noAutofit/>
          </a:bodyPr>
          <a:lstStyle>
            <a:lvl1pPr marL="0" indent="0">
              <a:buFontTx/>
              <a:buNone/>
              <a:defRPr sz="1800"/>
            </a:lvl1pPr>
            <a:lvl2pPr marL="0" indent="0">
              <a:spcBef>
                <a:spcPts val="0"/>
              </a:spcBef>
              <a:buFontTx/>
              <a:buNone/>
              <a:defRPr sz="1800" baseline="0">
                <a:solidFill>
                  <a:schemeClr val="tx1">
                    <a:lumMod val="50000"/>
                    <a:lumOff val="50000"/>
                  </a:schemeClr>
                </a:solidFill>
              </a:defRPr>
            </a:lvl2pPr>
            <a:lvl3pPr marL="0" indent="0">
              <a:spcBef>
                <a:spcPts val="0"/>
              </a:spcBef>
              <a:buFontTx/>
              <a:buNone/>
              <a:defRPr sz="1500" baseline="0"/>
            </a:lvl3pPr>
            <a:lvl4pPr marL="274320" indent="-137160">
              <a:spcBef>
                <a:spcPts val="0"/>
              </a:spcBef>
              <a:buFont typeface="Lucida Grande"/>
              <a:buChar char="&gt;"/>
              <a:defRPr sz="1500">
                <a:solidFill>
                  <a:schemeClr val="tx1">
                    <a:lumMod val="50000"/>
                    <a:lumOff val="50000"/>
                  </a:schemeClr>
                </a:solidFill>
              </a:defRPr>
            </a:lvl4pPr>
            <a:lvl5pPr marL="457200" indent="-137160">
              <a:buFont typeface="Lucida Grande"/>
              <a:buChar cha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Title 1"/>
          <p:cNvSpPr>
            <a:spLocks noGrp="1"/>
          </p:cNvSpPr>
          <p:nvPr>
            <p:ph type="ctrTitle"/>
          </p:nvPr>
        </p:nvSpPr>
        <p:spPr>
          <a:xfrm>
            <a:off x="664615" y="548640"/>
            <a:ext cx="10855385" cy="441960"/>
          </a:xfrm>
        </p:spPr>
        <p:txBody>
          <a:bodyPr anchor="t" anchorCtr="0"/>
          <a:lstStyle/>
          <a:p>
            <a:r>
              <a:rPr lang="en-US"/>
              <a:t>Click to edit Master title style</a:t>
            </a:r>
          </a:p>
        </p:txBody>
      </p:sp>
      <p:sp>
        <p:nvSpPr>
          <p:cNvPr id="15" name="Subtitle 2"/>
          <p:cNvSpPr>
            <a:spLocks noGrp="1"/>
          </p:cNvSpPr>
          <p:nvPr>
            <p:ph type="subTitle" idx="16"/>
          </p:nvPr>
        </p:nvSpPr>
        <p:spPr>
          <a:xfrm>
            <a:off x="664615" y="1011936"/>
            <a:ext cx="10855385" cy="457200"/>
          </a:xfrm>
        </p:spPr>
        <p:txBody>
          <a:bodyPr lIns="0" tIns="0"/>
          <a:lstStyle>
            <a:lvl1pPr marL="0" indent="0" algn="l">
              <a:buNone/>
              <a:defRPr sz="1800">
                <a:solidFill>
                  <a:schemeClr val="tx1">
                    <a:lumMod val="50000"/>
                    <a:lumOff val="50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11" name="Content Placeholder 2"/>
          <p:cNvSpPr>
            <a:spLocks noGrp="1"/>
          </p:cNvSpPr>
          <p:nvPr>
            <p:ph idx="17"/>
          </p:nvPr>
        </p:nvSpPr>
        <p:spPr>
          <a:xfrm>
            <a:off x="6302326" y="1463040"/>
            <a:ext cx="5233182" cy="4782312"/>
          </a:xfrm>
        </p:spPr>
        <p:txBody>
          <a:bodyPr lIns="0">
            <a:noAutofit/>
          </a:bodyPr>
          <a:lstStyle>
            <a:lvl1pPr marL="0" indent="0">
              <a:buFontTx/>
              <a:buNone/>
              <a:defRPr sz="1800"/>
            </a:lvl1pPr>
            <a:lvl2pPr marL="0" indent="0">
              <a:spcBef>
                <a:spcPts val="0"/>
              </a:spcBef>
              <a:buFontTx/>
              <a:buNone/>
              <a:defRPr sz="1800" baseline="0">
                <a:solidFill>
                  <a:schemeClr val="tx1">
                    <a:lumMod val="50000"/>
                    <a:lumOff val="50000"/>
                  </a:schemeClr>
                </a:solidFill>
              </a:defRPr>
            </a:lvl2pPr>
            <a:lvl3pPr marL="0" indent="0">
              <a:spcBef>
                <a:spcPts val="0"/>
              </a:spcBef>
              <a:buFontTx/>
              <a:buNone/>
              <a:defRPr sz="1500" baseline="0"/>
            </a:lvl3pPr>
            <a:lvl4pPr marL="274320" indent="-137160">
              <a:spcBef>
                <a:spcPts val="0"/>
              </a:spcBef>
              <a:buFont typeface="Lucida Grande"/>
              <a:buChar char="&gt;"/>
              <a:defRPr sz="1500">
                <a:solidFill>
                  <a:schemeClr val="tx1">
                    <a:lumMod val="50000"/>
                    <a:lumOff val="50000"/>
                  </a:schemeClr>
                </a:solidFill>
              </a:defRPr>
            </a:lvl4pPr>
            <a:lvl5pPr marL="457200" indent="-137160">
              <a:buFont typeface="Lucida Grande"/>
              <a:buChar cha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9982756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Title 2">
    <p:bg>
      <p:bgPr>
        <a:solidFill>
          <a:schemeClr val="bg1"/>
        </a:solidFill>
        <a:effectLst/>
      </p:bgPr>
    </p:bg>
    <p:spTree>
      <p:nvGrpSpPr>
        <p:cNvPr id="1" name=""/>
        <p:cNvGrpSpPr/>
        <p:nvPr/>
      </p:nvGrpSpPr>
      <p:grpSpPr>
        <a:xfrm>
          <a:off x="0" y="0"/>
          <a:ext cx="0" cy="0"/>
          <a:chOff x="0" y="0"/>
          <a:chExt cx="0" cy="0"/>
        </a:xfrm>
      </p:grpSpPr>
      <p:pic>
        <p:nvPicPr>
          <p:cNvPr id="11" name="Graphic 10">
            <a:extLst>
              <a:ext uri="{FF2B5EF4-FFF2-40B4-BE49-F238E27FC236}">
                <a16:creationId xmlns:a16="http://schemas.microsoft.com/office/drawing/2014/main" id="{541351A2-CEC3-4AEC-8236-A5FB8016D6B2}"/>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76200" y="34890"/>
            <a:ext cx="12049125" cy="6788220"/>
          </a:xfrm>
          <a:prstGeom prst="rect">
            <a:avLst/>
          </a:prstGeom>
        </p:spPr>
      </p:pic>
      <p:sp>
        <p:nvSpPr>
          <p:cNvPr id="2" name="Title 1">
            <a:extLst>
              <a:ext uri="{FF2B5EF4-FFF2-40B4-BE49-F238E27FC236}">
                <a16:creationId xmlns:a16="http://schemas.microsoft.com/office/drawing/2014/main" id="{DE5BBB5A-E909-4B98-99CC-B3F2B12EF9E8}"/>
              </a:ext>
            </a:extLst>
          </p:cNvPr>
          <p:cNvSpPr>
            <a:spLocks noGrp="1"/>
          </p:cNvSpPr>
          <p:nvPr>
            <p:ph type="ctrTitle" hasCustomPrompt="1"/>
          </p:nvPr>
        </p:nvSpPr>
        <p:spPr>
          <a:xfrm>
            <a:off x="358774" y="1798637"/>
            <a:ext cx="7577140" cy="2173288"/>
          </a:xfrm>
        </p:spPr>
        <p:txBody>
          <a:bodyPr anchor="ctr" anchorCtr="0">
            <a:noAutofit/>
          </a:bodyPr>
          <a:lstStyle>
            <a:lvl1pPr algn="l">
              <a:defRPr sz="4800"/>
            </a:lvl1pPr>
          </a:lstStyle>
          <a:p>
            <a:r>
              <a:rPr lang="en-US"/>
              <a:t>Add title</a:t>
            </a:r>
          </a:p>
        </p:txBody>
      </p:sp>
      <p:sp>
        <p:nvSpPr>
          <p:cNvPr id="7" name="Guides" hidden="1">
            <a:extLst>
              <a:ext uri="{FF2B5EF4-FFF2-40B4-BE49-F238E27FC236}">
                <a16:creationId xmlns:a16="http://schemas.microsoft.com/office/drawing/2014/main" id="{25E35409-37AF-410A-BB15-B1EDB639D7DA}"/>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8" name="Text Placeholder 4">
            <a:extLst>
              <a:ext uri="{FF2B5EF4-FFF2-40B4-BE49-F238E27FC236}">
                <a16:creationId xmlns:a16="http://schemas.microsoft.com/office/drawing/2014/main" id="{F71DB77D-2F07-40F6-BC00-A91E707946B5}"/>
              </a:ext>
            </a:extLst>
          </p:cNvPr>
          <p:cNvSpPr>
            <a:spLocks noGrp="1"/>
          </p:cNvSpPr>
          <p:nvPr>
            <p:ph type="body" sz="quarter" idx="11" hasCustomPrompt="1"/>
          </p:nvPr>
        </p:nvSpPr>
        <p:spPr>
          <a:xfrm>
            <a:off x="358775" y="4392000"/>
            <a:ext cx="7577138" cy="1620000"/>
          </a:xfrm>
        </p:spPr>
        <p:txBody>
          <a:bodyPr/>
          <a:lstStyle>
            <a:lvl1pPr marL="0" indent="0">
              <a:buNone/>
              <a:defRPr sz="4800">
                <a:latin typeface="+mn-lt"/>
              </a:defRPr>
            </a:lvl1pPr>
            <a:lvl2pPr marL="0" indent="0">
              <a:buNone/>
              <a:defRPr sz="4800">
                <a:latin typeface="+mn-lt"/>
              </a:defRPr>
            </a:lvl2pPr>
            <a:lvl3pPr marL="0" indent="0">
              <a:buNone/>
              <a:defRPr sz="4800">
                <a:latin typeface="+mn-lt"/>
              </a:defRPr>
            </a:lvl3pPr>
            <a:lvl4pPr marL="0" indent="0">
              <a:buNone/>
              <a:defRPr sz="4800">
                <a:latin typeface="+mn-lt"/>
              </a:defRPr>
            </a:lvl4pPr>
            <a:lvl5pPr marL="0" indent="0">
              <a:buNone/>
              <a:defRPr sz="4800">
                <a:latin typeface="+mn-lt"/>
              </a:defRPr>
            </a:lvl5pPr>
            <a:lvl6pPr marL="0" indent="0">
              <a:buNone/>
              <a:defRPr sz="4800"/>
            </a:lvl6pPr>
          </a:lstStyle>
          <a:p>
            <a:pPr lvl="0"/>
            <a:r>
              <a:rPr lang="en-US"/>
              <a:t>Add subtitle or date</a:t>
            </a:r>
          </a:p>
        </p:txBody>
      </p:sp>
      <p:pic>
        <p:nvPicPr>
          <p:cNvPr id="1379843834" name="image" descr="{&quot;templafy&quot;:{&quot;id&quot;:&quot;44bb3358-4283-4314-990d-59910e926a0e&quot;}}"/>
          <p:cNvPicPr>
            <a:picLocks noChangeAspect="1"/>
          </p:cNvPicPr>
          <p:nvPr/>
        </p:nvPicPr>
        <p:blipFill>
          <a:blip r:embed="rId5"/>
          <a:stretch>
            <a:fillRect/>
          </a:stretch>
        </p:blipFill>
        <p:spPr>
          <a:xfrm>
            <a:off x="358774" y="269875"/>
            <a:ext cx="2253600" cy="290941"/>
          </a:xfrm>
          <a:prstGeom prst="rect">
            <a:avLst/>
          </a:prstGeom>
        </p:spPr>
      </p:pic>
      <p:pic>
        <p:nvPicPr>
          <p:cNvPr id="4" name="Picture 3" hidden="1">
            <a:extLst>
              <a:ext uri="{FF2B5EF4-FFF2-40B4-BE49-F238E27FC236}">
                <a16:creationId xmlns:a16="http://schemas.microsoft.com/office/drawing/2014/main" id="{1D627772-CD86-44A0-87C9-FEB68EFB7407}"/>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358774" y="503256"/>
            <a:ext cx="4740492" cy="612000"/>
          </a:xfrm>
          <a:prstGeom prst="rect">
            <a:avLst/>
          </a:prstGeom>
        </p:spPr>
      </p:pic>
    </p:spTree>
    <p:extLst>
      <p:ext uri="{BB962C8B-B14F-4D97-AF65-F5344CB8AC3E}">
        <p14:creationId xmlns:p14="http://schemas.microsoft.com/office/powerpoint/2010/main" val="2043703076"/>
      </p:ext>
    </p:extLst>
  </p:cSld>
  <p:clrMapOvr>
    <a:masterClrMapping/>
  </p:clrMapOvr>
  <p:extLst>
    <p:ext uri="{DCECCB84-F9BA-43D5-87BE-67443E8EF086}">
      <p15:sldGuideLst xmlns:p15="http://schemas.microsoft.com/office/powerpoint/2012/main">
        <p15:guide id="1" orient="horz" pos="170" userDrawn="1">
          <p15:clr>
            <a:srgbClr val="717275"/>
          </p15:clr>
        </p15:guide>
        <p15:guide id="2" orient="horz" pos="762" userDrawn="1">
          <p15:clr>
            <a:srgbClr val="717275"/>
          </p15:clr>
        </p15:guide>
        <p15:guide id="3" orient="horz" pos="1133" userDrawn="1">
          <p15:clr>
            <a:srgbClr val="FF96FF"/>
          </p15:clr>
        </p15:guide>
        <p15:guide id="4" orient="horz" pos="3753" userDrawn="1">
          <p15:clr>
            <a:srgbClr val="FF96FF"/>
          </p15:clr>
        </p15:guide>
        <p15:guide id="5" pos="226" userDrawn="1">
          <p15:clr>
            <a:srgbClr val="FF96FF"/>
          </p15:clr>
        </p15:guide>
        <p15:guide id="6" pos="2544" userDrawn="1">
          <p15:clr>
            <a:srgbClr val="FF96FF"/>
          </p15:clr>
        </p15:guide>
        <p15:guide id="7" pos="2680" userDrawn="1">
          <p15:clr>
            <a:srgbClr val="FF96FF"/>
          </p15:clr>
        </p15:guide>
        <p15:guide id="8" pos="4999" userDrawn="1">
          <p15:clr>
            <a:srgbClr val="FF96FF"/>
          </p15:clr>
        </p15:guide>
        <p15:guide id="9" pos="5135" userDrawn="1">
          <p15:clr>
            <a:srgbClr val="FF96FF"/>
          </p15:clr>
        </p15:guide>
        <p15:guide id="10" pos="7453" userDrawn="1">
          <p15:clr>
            <a:srgbClr val="FF96FF"/>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Title 3">
    <p:bg>
      <p:bgPr>
        <a:solidFill>
          <a:schemeClr val="bg1"/>
        </a:solidFill>
        <a:effectLst/>
      </p:bgPr>
    </p:bg>
    <p:spTree>
      <p:nvGrpSpPr>
        <p:cNvPr id="1" name=""/>
        <p:cNvGrpSpPr/>
        <p:nvPr/>
      </p:nvGrpSpPr>
      <p:grpSpPr>
        <a:xfrm>
          <a:off x="0" y="0"/>
          <a:ext cx="0" cy="0"/>
          <a:chOff x="0" y="0"/>
          <a:chExt cx="0" cy="0"/>
        </a:xfrm>
      </p:grpSpPr>
      <p:pic>
        <p:nvPicPr>
          <p:cNvPr id="15" name="Graphic 14">
            <a:extLst>
              <a:ext uri="{FF2B5EF4-FFF2-40B4-BE49-F238E27FC236}">
                <a16:creationId xmlns:a16="http://schemas.microsoft.com/office/drawing/2014/main" id="{1B111059-DBC4-45AB-8F17-173A4FC28874}"/>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DE5BBB5A-E909-4B98-99CC-B3F2B12EF9E8}"/>
              </a:ext>
            </a:extLst>
          </p:cNvPr>
          <p:cNvSpPr>
            <a:spLocks noGrp="1"/>
          </p:cNvSpPr>
          <p:nvPr>
            <p:ph type="ctrTitle" hasCustomPrompt="1"/>
          </p:nvPr>
        </p:nvSpPr>
        <p:spPr>
          <a:xfrm>
            <a:off x="358774" y="1798637"/>
            <a:ext cx="7577140" cy="2173288"/>
          </a:xfrm>
        </p:spPr>
        <p:txBody>
          <a:bodyPr anchor="ctr" anchorCtr="0">
            <a:noAutofit/>
          </a:bodyPr>
          <a:lstStyle>
            <a:lvl1pPr algn="l">
              <a:defRPr sz="4800"/>
            </a:lvl1pPr>
          </a:lstStyle>
          <a:p>
            <a:r>
              <a:rPr lang="en-US"/>
              <a:t>Add title</a:t>
            </a:r>
          </a:p>
        </p:txBody>
      </p:sp>
      <p:sp>
        <p:nvSpPr>
          <p:cNvPr id="7" name="Guides" hidden="1">
            <a:extLst>
              <a:ext uri="{FF2B5EF4-FFF2-40B4-BE49-F238E27FC236}">
                <a16:creationId xmlns:a16="http://schemas.microsoft.com/office/drawing/2014/main" id="{25E35409-37AF-410A-BB15-B1EDB639D7DA}"/>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8" name="Text Placeholder 4">
            <a:extLst>
              <a:ext uri="{FF2B5EF4-FFF2-40B4-BE49-F238E27FC236}">
                <a16:creationId xmlns:a16="http://schemas.microsoft.com/office/drawing/2014/main" id="{F71DB77D-2F07-40F6-BC00-A91E707946B5}"/>
              </a:ext>
            </a:extLst>
          </p:cNvPr>
          <p:cNvSpPr>
            <a:spLocks noGrp="1"/>
          </p:cNvSpPr>
          <p:nvPr>
            <p:ph type="body" sz="quarter" idx="11" hasCustomPrompt="1"/>
          </p:nvPr>
        </p:nvSpPr>
        <p:spPr>
          <a:xfrm>
            <a:off x="358775" y="4392000"/>
            <a:ext cx="7577138" cy="1620000"/>
          </a:xfrm>
        </p:spPr>
        <p:txBody>
          <a:bodyPr/>
          <a:lstStyle>
            <a:lvl1pPr marL="0" indent="0">
              <a:buNone/>
              <a:defRPr sz="4800">
                <a:latin typeface="+mn-lt"/>
              </a:defRPr>
            </a:lvl1pPr>
            <a:lvl2pPr marL="0" indent="0">
              <a:buNone/>
              <a:defRPr sz="4800">
                <a:latin typeface="+mn-lt"/>
              </a:defRPr>
            </a:lvl2pPr>
            <a:lvl3pPr marL="0" indent="0">
              <a:buNone/>
              <a:defRPr sz="4800">
                <a:latin typeface="+mn-lt"/>
              </a:defRPr>
            </a:lvl3pPr>
            <a:lvl4pPr marL="0" indent="0">
              <a:buNone/>
              <a:defRPr sz="4800">
                <a:latin typeface="+mn-lt"/>
              </a:defRPr>
            </a:lvl4pPr>
            <a:lvl5pPr marL="0" indent="0">
              <a:buNone/>
              <a:defRPr sz="4800">
                <a:latin typeface="+mn-lt"/>
              </a:defRPr>
            </a:lvl5pPr>
            <a:lvl6pPr marL="0" indent="0">
              <a:buNone/>
              <a:defRPr sz="4800"/>
            </a:lvl6pPr>
          </a:lstStyle>
          <a:p>
            <a:pPr lvl="0"/>
            <a:r>
              <a:rPr lang="en-US"/>
              <a:t>Add subtitle or date</a:t>
            </a:r>
          </a:p>
        </p:txBody>
      </p:sp>
      <p:pic>
        <p:nvPicPr>
          <p:cNvPr id="1696983958" name="image" descr="{&quot;templafy&quot;:{&quot;id&quot;:&quot;b7ac4452-9e4b-4883-9dd5-6ec32e19b968&quot;}}"/>
          <p:cNvPicPr>
            <a:picLocks noChangeAspect="1"/>
          </p:cNvPicPr>
          <p:nvPr/>
        </p:nvPicPr>
        <p:blipFill>
          <a:blip r:embed="rId5"/>
          <a:stretch>
            <a:fillRect/>
          </a:stretch>
        </p:blipFill>
        <p:spPr>
          <a:xfrm>
            <a:off x="358774" y="269875"/>
            <a:ext cx="2253600" cy="290941"/>
          </a:xfrm>
          <a:prstGeom prst="rect">
            <a:avLst/>
          </a:prstGeom>
        </p:spPr>
      </p:pic>
      <p:pic>
        <p:nvPicPr>
          <p:cNvPr id="4" name="Picture 3" hidden="1">
            <a:extLst>
              <a:ext uri="{FF2B5EF4-FFF2-40B4-BE49-F238E27FC236}">
                <a16:creationId xmlns:a16="http://schemas.microsoft.com/office/drawing/2014/main" id="{DEFF3989-711A-44DF-AD89-77342A00D725}"/>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358774" y="431875"/>
            <a:ext cx="4740492" cy="612000"/>
          </a:xfrm>
          <a:prstGeom prst="rect">
            <a:avLst/>
          </a:prstGeom>
        </p:spPr>
      </p:pic>
    </p:spTree>
    <p:extLst>
      <p:ext uri="{BB962C8B-B14F-4D97-AF65-F5344CB8AC3E}">
        <p14:creationId xmlns:p14="http://schemas.microsoft.com/office/powerpoint/2010/main" val="1203858432"/>
      </p:ext>
    </p:extLst>
  </p:cSld>
  <p:clrMapOvr>
    <a:masterClrMapping/>
  </p:clrMapOvr>
  <p:extLst>
    <p:ext uri="{DCECCB84-F9BA-43D5-87BE-67443E8EF086}">
      <p15:sldGuideLst xmlns:p15="http://schemas.microsoft.com/office/powerpoint/2012/main">
        <p15:guide id="1" orient="horz" pos="170" userDrawn="1">
          <p15:clr>
            <a:srgbClr val="717275"/>
          </p15:clr>
        </p15:guide>
        <p15:guide id="2" orient="horz" pos="762" userDrawn="1">
          <p15:clr>
            <a:srgbClr val="717275"/>
          </p15:clr>
        </p15:guide>
        <p15:guide id="3" orient="horz" pos="1133" userDrawn="1">
          <p15:clr>
            <a:srgbClr val="FF96FF"/>
          </p15:clr>
        </p15:guide>
        <p15:guide id="4" orient="horz" pos="3753" userDrawn="1">
          <p15:clr>
            <a:srgbClr val="FF96FF"/>
          </p15:clr>
        </p15:guide>
        <p15:guide id="5" pos="226" userDrawn="1">
          <p15:clr>
            <a:srgbClr val="FF96FF"/>
          </p15:clr>
        </p15:guide>
        <p15:guide id="6" pos="2544" userDrawn="1">
          <p15:clr>
            <a:srgbClr val="FF96FF"/>
          </p15:clr>
        </p15:guide>
        <p15:guide id="7" pos="2680" userDrawn="1">
          <p15:clr>
            <a:srgbClr val="FF96FF"/>
          </p15:clr>
        </p15:guide>
        <p15:guide id="8" pos="4999" userDrawn="1">
          <p15:clr>
            <a:srgbClr val="FF96FF"/>
          </p15:clr>
        </p15:guide>
        <p15:guide id="9" pos="5135" userDrawn="1">
          <p15:clr>
            <a:srgbClr val="FF96FF"/>
          </p15:clr>
        </p15:guide>
        <p15:guide id="10" pos="7453" userDrawn="1">
          <p15:clr>
            <a:srgbClr val="FF96FF"/>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Title 4">
    <p:bg>
      <p:bgPr>
        <a:solidFill>
          <a:schemeClr val="bg1"/>
        </a:solidFill>
        <a:effectLst/>
      </p:bgPr>
    </p:bg>
    <p:spTree>
      <p:nvGrpSpPr>
        <p:cNvPr id="1" name=""/>
        <p:cNvGrpSpPr/>
        <p:nvPr/>
      </p:nvGrpSpPr>
      <p:grpSpPr>
        <a:xfrm>
          <a:off x="0" y="0"/>
          <a:ext cx="0" cy="0"/>
          <a:chOff x="0" y="0"/>
          <a:chExt cx="0" cy="0"/>
        </a:xfrm>
      </p:grpSpPr>
      <p:pic>
        <p:nvPicPr>
          <p:cNvPr id="8" name="Graphic 7">
            <a:extLst>
              <a:ext uri="{FF2B5EF4-FFF2-40B4-BE49-F238E27FC236}">
                <a16:creationId xmlns:a16="http://schemas.microsoft.com/office/drawing/2014/main" id="{7DBFF792-994D-4763-9021-2FEF7589E6D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0" y="597"/>
            <a:ext cx="12192000" cy="6856806"/>
          </a:xfrm>
          <a:prstGeom prst="rect">
            <a:avLst/>
          </a:prstGeom>
        </p:spPr>
      </p:pic>
      <p:sp>
        <p:nvSpPr>
          <p:cNvPr id="2" name="Title 1">
            <a:extLst>
              <a:ext uri="{FF2B5EF4-FFF2-40B4-BE49-F238E27FC236}">
                <a16:creationId xmlns:a16="http://schemas.microsoft.com/office/drawing/2014/main" id="{DE5BBB5A-E909-4B98-99CC-B3F2B12EF9E8}"/>
              </a:ext>
            </a:extLst>
          </p:cNvPr>
          <p:cNvSpPr>
            <a:spLocks noGrp="1"/>
          </p:cNvSpPr>
          <p:nvPr>
            <p:ph type="ctrTitle" hasCustomPrompt="1"/>
          </p:nvPr>
        </p:nvSpPr>
        <p:spPr>
          <a:xfrm>
            <a:off x="358774" y="1798637"/>
            <a:ext cx="6147904" cy="2173288"/>
          </a:xfrm>
        </p:spPr>
        <p:txBody>
          <a:bodyPr anchor="ctr" anchorCtr="0">
            <a:noAutofit/>
          </a:bodyPr>
          <a:lstStyle>
            <a:lvl1pPr algn="l">
              <a:defRPr sz="4800"/>
            </a:lvl1pPr>
          </a:lstStyle>
          <a:p>
            <a:r>
              <a:rPr lang="en-US"/>
              <a:t>Add title</a:t>
            </a:r>
          </a:p>
        </p:txBody>
      </p:sp>
      <p:sp>
        <p:nvSpPr>
          <p:cNvPr id="7" name="Guides" hidden="1">
            <a:extLst>
              <a:ext uri="{FF2B5EF4-FFF2-40B4-BE49-F238E27FC236}">
                <a16:creationId xmlns:a16="http://schemas.microsoft.com/office/drawing/2014/main" id="{25E35409-37AF-410A-BB15-B1EDB639D7DA}"/>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11" name="Text Placeholder 4">
            <a:extLst>
              <a:ext uri="{FF2B5EF4-FFF2-40B4-BE49-F238E27FC236}">
                <a16:creationId xmlns:a16="http://schemas.microsoft.com/office/drawing/2014/main" id="{F998D014-E3E3-471F-8933-C27D84BED96D}"/>
              </a:ext>
            </a:extLst>
          </p:cNvPr>
          <p:cNvSpPr>
            <a:spLocks noGrp="1"/>
          </p:cNvSpPr>
          <p:nvPr>
            <p:ph type="body" sz="quarter" idx="11" hasCustomPrompt="1"/>
          </p:nvPr>
        </p:nvSpPr>
        <p:spPr>
          <a:xfrm>
            <a:off x="358775" y="4392000"/>
            <a:ext cx="6147903" cy="1620000"/>
          </a:xfrm>
        </p:spPr>
        <p:txBody>
          <a:bodyPr/>
          <a:lstStyle>
            <a:lvl1pPr marL="0" indent="0">
              <a:buNone/>
              <a:defRPr sz="4800">
                <a:latin typeface="+mn-lt"/>
              </a:defRPr>
            </a:lvl1pPr>
            <a:lvl2pPr marL="0" indent="0">
              <a:buNone/>
              <a:defRPr sz="4800">
                <a:latin typeface="+mn-lt"/>
              </a:defRPr>
            </a:lvl2pPr>
            <a:lvl3pPr marL="0" indent="0">
              <a:buNone/>
              <a:defRPr sz="4800">
                <a:latin typeface="+mn-lt"/>
              </a:defRPr>
            </a:lvl3pPr>
            <a:lvl4pPr marL="0" indent="0">
              <a:buNone/>
              <a:defRPr sz="4800">
                <a:latin typeface="+mn-lt"/>
              </a:defRPr>
            </a:lvl4pPr>
            <a:lvl5pPr marL="0" indent="0">
              <a:buNone/>
              <a:defRPr sz="4800">
                <a:latin typeface="+mn-lt"/>
              </a:defRPr>
            </a:lvl5pPr>
            <a:lvl6pPr marL="0" indent="0">
              <a:buNone/>
              <a:defRPr sz="4800"/>
            </a:lvl6pPr>
          </a:lstStyle>
          <a:p>
            <a:pPr lvl="0"/>
            <a:r>
              <a:rPr lang="en-US"/>
              <a:t>Add subtitle or date</a:t>
            </a:r>
          </a:p>
        </p:txBody>
      </p:sp>
      <p:pic>
        <p:nvPicPr>
          <p:cNvPr id="1914175088" name="image" descr="{&quot;templafy&quot;:{&quot;id&quot;:&quot;69fe0496-3efe-4dda-9bb1-2129d28060f4&quot;}}"/>
          <p:cNvPicPr>
            <a:picLocks noChangeAspect="1"/>
          </p:cNvPicPr>
          <p:nvPr/>
        </p:nvPicPr>
        <p:blipFill>
          <a:blip r:embed="rId5"/>
          <a:stretch>
            <a:fillRect/>
          </a:stretch>
        </p:blipFill>
        <p:spPr>
          <a:xfrm>
            <a:off x="358774" y="269875"/>
            <a:ext cx="2253600" cy="290941"/>
          </a:xfrm>
          <a:prstGeom prst="rect">
            <a:avLst/>
          </a:prstGeom>
        </p:spPr>
      </p:pic>
      <p:pic>
        <p:nvPicPr>
          <p:cNvPr id="4" name="Picture 3" hidden="1">
            <a:extLst>
              <a:ext uri="{FF2B5EF4-FFF2-40B4-BE49-F238E27FC236}">
                <a16:creationId xmlns:a16="http://schemas.microsoft.com/office/drawing/2014/main" id="{06302278-457F-43C7-8AD0-E4673036B616}"/>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358774" y="431875"/>
            <a:ext cx="4740492" cy="612000"/>
          </a:xfrm>
          <a:prstGeom prst="rect">
            <a:avLst/>
          </a:prstGeom>
        </p:spPr>
      </p:pic>
    </p:spTree>
    <p:extLst>
      <p:ext uri="{BB962C8B-B14F-4D97-AF65-F5344CB8AC3E}">
        <p14:creationId xmlns:p14="http://schemas.microsoft.com/office/powerpoint/2010/main" val="3855129683"/>
      </p:ext>
    </p:extLst>
  </p:cSld>
  <p:clrMapOvr>
    <a:masterClrMapping/>
  </p:clrMapOvr>
  <p:extLst>
    <p:ext uri="{DCECCB84-F9BA-43D5-87BE-67443E8EF086}">
      <p15:sldGuideLst xmlns:p15="http://schemas.microsoft.com/office/powerpoint/2012/main">
        <p15:guide id="1" orient="horz" pos="170" userDrawn="1">
          <p15:clr>
            <a:srgbClr val="717275"/>
          </p15:clr>
        </p15:guide>
        <p15:guide id="2" orient="horz" pos="762" userDrawn="1">
          <p15:clr>
            <a:srgbClr val="717275"/>
          </p15:clr>
        </p15:guide>
        <p15:guide id="3" orient="horz" pos="1133" userDrawn="1">
          <p15:clr>
            <a:srgbClr val="FF96FF"/>
          </p15:clr>
        </p15:guide>
        <p15:guide id="4" orient="horz" pos="3753" userDrawn="1">
          <p15:clr>
            <a:srgbClr val="FF96FF"/>
          </p15:clr>
        </p15:guide>
        <p15:guide id="5" pos="226" userDrawn="1">
          <p15:clr>
            <a:srgbClr val="FF96FF"/>
          </p15:clr>
        </p15:guide>
        <p15:guide id="6" pos="2544" userDrawn="1">
          <p15:clr>
            <a:srgbClr val="FF96FF"/>
          </p15:clr>
        </p15:guide>
        <p15:guide id="7" pos="2680" userDrawn="1">
          <p15:clr>
            <a:srgbClr val="FF96FF"/>
          </p15:clr>
        </p15:guide>
        <p15:guide id="8" pos="4999" userDrawn="1">
          <p15:clr>
            <a:srgbClr val="FF96FF"/>
          </p15:clr>
        </p15:guide>
        <p15:guide id="9" pos="5135" userDrawn="1">
          <p15:clr>
            <a:srgbClr val="FF96FF"/>
          </p15:clr>
        </p15:guide>
        <p15:guide id="10" pos="7453" userDrawn="1">
          <p15:clr>
            <a:srgbClr val="FF96FF"/>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Title 5">
    <p:bg>
      <p:bgPr>
        <a:solidFill>
          <a:schemeClr val="bg1"/>
        </a:solidFill>
        <a:effectLst/>
      </p:bgPr>
    </p:bg>
    <p:spTree>
      <p:nvGrpSpPr>
        <p:cNvPr id="1" name=""/>
        <p:cNvGrpSpPr/>
        <p:nvPr/>
      </p:nvGrpSpPr>
      <p:grpSpPr>
        <a:xfrm>
          <a:off x="0" y="0"/>
          <a:ext cx="0" cy="0"/>
          <a:chOff x="0" y="0"/>
          <a:chExt cx="0" cy="0"/>
        </a:xfrm>
      </p:grpSpPr>
      <p:pic>
        <p:nvPicPr>
          <p:cNvPr id="16" name="Graphic 15">
            <a:extLst>
              <a:ext uri="{FF2B5EF4-FFF2-40B4-BE49-F238E27FC236}">
                <a16:creationId xmlns:a16="http://schemas.microsoft.com/office/drawing/2014/main" id="{E2B16E6D-59F7-4872-A428-2EF0EB00AC6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DE5BBB5A-E909-4B98-99CC-B3F2B12EF9E8}"/>
              </a:ext>
            </a:extLst>
          </p:cNvPr>
          <p:cNvSpPr>
            <a:spLocks noGrp="1"/>
          </p:cNvSpPr>
          <p:nvPr>
            <p:ph type="ctrTitle" hasCustomPrompt="1"/>
          </p:nvPr>
        </p:nvSpPr>
        <p:spPr>
          <a:xfrm>
            <a:off x="358774" y="1798637"/>
            <a:ext cx="6138279" cy="2173288"/>
          </a:xfrm>
        </p:spPr>
        <p:txBody>
          <a:bodyPr anchor="ctr" anchorCtr="0">
            <a:noAutofit/>
          </a:bodyPr>
          <a:lstStyle>
            <a:lvl1pPr algn="l">
              <a:defRPr sz="4800">
                <a:solidFill>
                  <a:schemeClr val="bg1"/>
                </a:solidFill>
              </a:defRPr>
            </a:lvl1pPr>
          </a:lstStyle>
          <a:p>
            <a:r>
              <a:rPr lang="en-US"/>
              <a:t>Add title</a:t>
            </a:r>
          </a:p>
        </p:txBody>
      </p:sp>
      <p:sp>
        <p:nvSpPr>
          <p:cNvPr id="7" name="Guides" hidden="1">
            <a:extLst>
              <a:ext uri="{FF2B5EF4-FFF2-40B4-BE49-F238E27FC236}">
                <a16:creationId xmlns:a16="http://schemas.microsoft.com/office/drawing/2014/main" id="{25E35409-37AF-410A-BB15-B1EDB639D7DA}"/>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9" name="Text Placeholder 4">
            <a:extLst>
              <a:ext uri="{FF2B5EF4-FFF2-40B4-BE49-F238E27FC236}">
                <a16:creationId xmlns:a16="http://schemas.microsoft.com/office/drawing/2014/main" id="{86B62067-628B-460A-AB62-DBF00E5836E6}"/>
              </a:ext>
            </a:extLst>
          </p:cNvPr>
          <p:cNvSpPr>
            <a:spLocks noGrp="1"/>
          </p:cNvSpPr>
          <p:nvPr>
            <p:ph type="body" sz="quarter" idx="11" hasCustomPrompt="1"/>
          </p:nvPr>
        </p:nvSpPr>
        <p:spPr>
          <a:xfrm>
            <a:off x="358775" y="4392000"/>
            <a:ext cx="6147903" cy="1620000"/>
          </a:xfrm>
        </p:spPr>
        <p:txBody>
          <a:bodyPr/>
          <a:lstStyle>
            <a:lvl1pPr marL="0" indent="0">
              <a:buNone/>
              <a:defRPr sz="4800">
                <a:solidFill>
                  <a:schemeClr val="bg1"/>
                </a:solidFill>
                <a:latin typeface="+mn-lt"/>
              </a:defRPr>
            </a:lvl1pPr>
            <a:lvl2pPr marL="0" indent="0">
              <a:buNone/>
              <a:defRPr sz="4800">
                <a:latin typeface="+mn-lt"/>
              </a:defRPr>
            </a:lvl2pPr>
            <a:lvl3pPr marL="0" indent="0">
              <a:buNone/>
              <a:defRPr sz="4800">
                <a:latin typeface="+mn-lt"/>
              </a:defRPr>
            </a:lvl3pPr>
            <a:lvl4pPr marL="0" indent="0">
              <a:buNone/>
              <a:defRPr sz="4800">
                <a:latin typeface="+mn-lt"/>
              </a:defRPr>
            </a:lvl4pPr>
            <a:lvl5pPr marL="0" indent="0">
              <a:buNone/>
              <a:defRPr sz="4800">
                <a:latin typeface="+mn-lt"/>
              </a:defRPr>
            </a:lvl5pPr>
            <a:lvl6pPr marL="0" indent="0">
              <a:buNone/>
              <a:defRPr sz="4800"/>
            </a:lvl6pPr>
          </a:lstStyle>
          <a:p>
            <a:pPr lvl="0"/>
            <a:r>
              <a:rPr lang="en-US"/>
              <a:t>Add subtitle or date</a:t>
            </a:r>
          </a:p>
        </p:txBody>
      </p:sp>
      <p:pic>
        <p:nvPicPr>
          <p:cNvPr id="2006988" name="image" descr="{&quot;templafy&quot;:{&quot;id&quot;:&quot;914c8a6c-cd0a-4479-ab25-74b431cff195&quot;}}"/>
          <p:cNvPicPr>
            <a:picLocks noChangeAspect="1"/>
          </p:cNvPicPr>
          <p:nvPr/>
        </p:nvPicPr>
        <p:blipFill>
          <a:blip r:embed="rId5"/>
          <a:stretch>
            <a:fillRect/>
          </a:stretch>
        </p:blipFill>
        <p:spPr>
          <a:xfrm>
            <a:off x="358774" y="269875"/>
            <a:ext cx="2253600" cy="290941"/>
          </a:xfrm>
          <a:prstGeom prst="rect">
            <a:avLst/>
          </a:prstGeom>
        </p:spPr>
      </p:pic>
      <p:pic>
        <p:nvPicPr>
          <p:cNvPr id="4" name="Picture 3" descr="Text&#10;&#10;Description automatically generated" hidden="1">
            <a:extLst>
              <a:ext uri="{FF2B5EF4-FFF2-40B4-BE49-F238E27FC236}">
                <a16:creationId xmlns:a16="http://schemas.microsoft.com/office/drawing/2014/main" id="{EA75DA9E-7125-42A0-94C7-9CFABB9C59F3}"/>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358774" y="431875"/>
            <a:ext cx="4740492" cy="612000"/>
          </a:xfrm>
          <a:prstGeom prst="rect">
            <a:avLst/>
          </a:prstGeom>
        </p:spPr>
      </p:pic>
    </p:spTree>
    <p:extLst>
      <p:ext uri="{BB962C8B-B14F-4D97-AF65-F5344CB8AC3E}">
        <p14:creationId xmlns:p14="http://schemas.microsoft.com/office/powerpoint/2010/main" val="2250126060"/>
      </p:ext>
    </p:extLst>
  </p:cSld>
  <p:clrMapOvr>
    <a:masterClrMapping/>
  </p:clrMapOvr>
  <p:extLst>
    <p:ext uri="{DCECCB84-F9BA-43D5-87BE-67443E8EF086}">
      <p15:sldGuideLst xmlns:p15="http://schemas.microsoft.com/office/powerpoint/2012/main">
        <p15:guide id="1" orient="horz" pos="170" userDrawn="1">
          <p15:clr>
            <a:srgbClr val="717275"/>
          </p15:clr>
        </p15:guide>
        <p15:guide id="2" orient="horz" pos="762" userDrawn="1">
          <p15:clr>
            <a:srgbClr val="717275"/>
          </p15:clr>
        </p15:guide>
        <p15:guide id="3" orient="horz" pos="1133" userDrawn="1">
          <p15:clr>
            <a:srgbClr val="FF96FF"/>
          </p15:clr>
        </p15:guide>
        <p15:guide id="4" orient="horz" pos="3753" userDrawn="1">
          <p15:clr>
            <a:srgbClr val="FF96FF"/>
          </p15:clr>
        </p15:guide>
        <p15:guide id="5" pos="234" userDrawn="1">
          <p15:clr>
            <a:srgbClr val="FF96FF"/>
          </p15:clr>
        </p15:guide>
        <p15:guide id="6" pos="2544" userDrawn="1">
          <p15:clr>
            <a:srgbClr val="FF96FF"/>
          </p15:clr>
        </p15:guide>
        <p15:guide id="7" pos="2683" userDrawn="1">
          <p15:clr>
            <a:srgbClr val="FF96FF"/>
          </p15:clr>
        </p15:guide>
        <p15:guide id="8" pos="4999" userDrawn="1">
          <p15:clr>
            <a:srgbClr val="FF96FF"/>
          </p15:clr>
        </p15:guide>
        <p15:guide id="9" pos="5135" userDrawn="1">
          <p15:clr>
            <a:srgbClr val="FF96FF"/>
          </p15:clr>
        </p15:guide>
        <p15:guide id="10" pos="7453" userDrawn="1">
          <p15:clr>
            <a:srgbClr val="FF96FF"/>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tags" Target="../tags/tag4.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tags" Target="../tags/tag3.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tags" Target="../tags/tag2.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image" Target="../media/image1.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theme" Target="../theme/theme1.xml"/><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28938BD6-A3CA-4583-9B72-F24990967C8D}"/>
              </a:ext>
            </a:extLst>
          </p:cNvPr>
          <p:cNvSpPr>
            <a:spLocks noGrp="1"/>
          </p:cNvSpPr>
          <p:nvPr>
            <p:ph type="title"/>
            <p:custDataLst>
              <p:tags r:id="rId57"/>
            </p:custDataLst>
          </p:nvPr>
        </p:nvSpPr>
        <p:spPr>
          <a:xfrm>
            <a:off x="360000" y="270001"/>
            <a:ext cx="11472000" cy="939674"/>
          </a:xfrm>
          <a:prstGeom prst="rect">
            <a:avLst/>
          </a:prstGeom>
        </p:spPr>
        <p:txBody>
          <a:bodyPr vert="horz" lIns="0" tIns="0" rIns="0" bIns="0" rtlCol="0" anchor="t" anchorCtr="0">
            <a:noAutofit/>
          </a:bodyPr>
          <a:lstStyle/>
          <a:p>
            <a:r>
              <a:rPr lang="en-US"/>
              <a:t>Add title</a:t>
            </a:r>
          </a:p>
        </p:txBody>
      </p:sp>
      <p:sp>
        <p:nvSpPr>
          <p:cNvPr id="3" name="Text Placeholder 2">
            <a:extLst>
              <a:ext uri="{FF2B5EF4-FFF2-40B4-BE49-F238E27FC236}">
                <a16:creationId xmlns:a16="http://schemas.microsoft.com/office/drawing/2014/main" id="{0F44F9B8-C740-4AF9-A1B7-097AF77A54C0}"/>
              </a:ext>
            </a:extLst>
          </p:cNvPr>
          <p:cNvSpPr>
            <a:spLocks noGrp="1"/>
          </p:cNvSpPr>
          <p:nvPr>
            <p:ph type="body" idx="1"/>
            <p:custDataLst>
              <p:tags r:id="rId58"/>
            </p:custDataLst>
          </p:nvPr>
        </p:nvSpPr>
        <p:spPr>
          <a:xfrm>
            <a:off x="360000" y="1800001"/>
            <a:ext cx="11472000" cy="4157999"/>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2313273F-7E94-4F41-A744-2212393418B2}"/>
              </a:ext>
            </a:extLst>
          </p:cNvPr>
          <p:cNvSpPr>
            <a:spLocks noGrp="1"/>
          </p:cNvSpPr>
          <p:nvPr>
            <p:ph type="ftr" sz="quarter" idx="3"/>
          </p:nvPr>
        </p:nvSpPr>
        <p:spPr>
          <a:xfrm>
            <a:off x="2647950" y="6203950"/>
            <a:ext cx="6905625" cy="365125"/>
          </a:xfrm>
          <a:prstGeom prst="rect">
            <a:avLst/>
          </a:prstGeom>
        </p:spPr>
        <p:txBody>
          <a:bodyPr vert="horz" lIns="0" tIns="0" rIns="0" bIns="0" rtlCol="0" anchor="b" anchorCtr="0"/>
          <a:lstStyle>
            <a:lvl1pPr algn="ctr">
              <a:defRPr sz="1000">
                <a:solidFill>
                  <a:schemeClr val="tx1"/>
                </a:solidFill>
                <a:latin typeface="+mj-lt"/>
              </a:defRPr>
            </a:lvl1pPr>
          </a:lstStyle>
          <a:p>
            <a:endParaRPr lang="en-US"/>
          </a:p>
        </p:txBody>
      </p:sp>
      <p:sp>
        <p:nvSpPr>
          <p:cNvPr id="6" name="Slide Number Placeholder 5">
            <a:extLst>
              <a:ext uri="{FF2B5EF4-FFF2-40B4-BE49-F238E27FC236}">
                <a16:creationId xmlns:a16="http://schemas.microsoft.com/office/drawing/2014/main" id="{54B7A9B9-0BC3-4D52-8945-0B0406446F53}"/>
              </a:ext>
            </a:extLst>
          </p:cNvPr>
          <p:cNvSpPr>
            <a:spLocks noGrp="1"/>
          </p:cNvSpPr>
          <p:nvPr>
            <p:ph type="sldNum" sz="quarter" idx="4"/>
          </p:nvPr>
        </p:nvSpPr>
        <p:spPr>
          <a:xfrm>
            <a:off x="10934700" y="6203950"/>
            <a:ext cx="897300" cy="365125"/>
          </a:xfrm>
          <a:prstGeom prst="rect">
            <a:avLst/>
          </a:prstGeom>
        </p:spPr>
        <p:txBody>
          <a:bodyPr vert="horz" lIns="0" tIns="0" rIns="0" bIns="0" rtlCol="0" anchor="b" anchorCtr="0"/>
          <a:lstStyle>
            <a:lvl1pPr algn="r">
              <a:defRPr sz="1000">
                <a:solidFill>
                  <a:schemeClr val="tx1"/>
                </a:solidFill>
                <a:latin typeface="+mj-lt"/>
              </a:defRPr>
            </a:lvl1pPr>
          </a:lstStyle>
          <a:p>
            <a:fld id="{9E2BE927-25C7-4379-86F1-C17ED9D2A7F2}" type="slidenum">
              <a:rPr lang="en-US" smtClean="0"/>
              <a:pPr/>
              <a:t>‹#›</a:t>
            </a:fld>
            <a:endParaRPr lang="en-US"/>
          </a:p>
        </p:txBody>
      </p:sp>
      <p:sp>
        <p:nvSpPr>
          <p:cNvPr id="10" name="Guides" hidden="1">
            <a:extLst>
              <a:ext uri="{FF2B5EF4-FFF2-40B4-BE49-F238E27FC236}">
                <a16:creationId xmlns:a16="http://schemas.microsoft.com/office/drawing/2014/main" id="{5B06145B-1752-44E5-A549-559B9D538ED5}"/>
              </a:ext>
            </a:extLst>
          </p:cNvPr>
          <p:cNvSpPr/>
          <p:nvPr userDrawn="1">
            <p:custDataLst>
              <p:tags r:id="rId59"/>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pic>
        <p:nvPicPr>
          <p:cNvPr id="1919926266" name="image" descr="{&quot;templafy&quot;:{&quot;id&quot;:&quot;55883e22-8756-4175-b992-350cd497b4b9&quot;}}"/>
          <p:cNvPicPr>
            <a:picLocks noChangeAspect="1"/>
          </p:cNvPicPr>
          <p:nvPr/>
        </p:nvPicPr>
        <p:blipFill>
          <a:blip r:embed="rId60"/>
          <a:stretch>
            <a:fillRect/>
          </a:stretch>
        </p:blipFill>
        <p:spPr>
          <a:xfrm>
            <a:off x="360000" y="6427332"/>
            <a:ext cx="1623600" cy="209608"/>
          </a:xfrm>
          <a:prstGeom prst="rect">
            <a:avLst/>
          </a:prstGeom>
        </p:spPr>
      </p:pic>
      <p:pic>
        <p:nvPicPr>
          <p:cNvPr id="8" name="Picture 7" hidden="1">
            <a:extLst>
              <a:ext uri="{FF2B5EF4-FFF2-40B4-BE49-F238E27FC236}">
                <a16:creationId xmlns:a16="http://schemas.microsoft.com/office/drawing/2014/main" id="{D315177F-F9D5-41F5-95E4-4BE1693FD4CC}"/>
              </a:ext>
            </a:extLst>
          </p:cNvPr>
          <p:cNvPicPr>
            <a:picLocks noChangeAspect="1"/>
          </p:cNvPicPr>
          <p:nvPr userDrawn="1"/>
        </p:nvPicPr>
        <p:blipFill>
          <a:blip r:embed="rId60">
            <a:extLst>
              <a:ext uri="{28A0092B-C50C-407E-A947-70E740481C1C}">
                <a14:useLocalDpi xmlns:a14="http://schemas.microsoft.com/office/drawing/2010/main" val="0"/>
              </a:ext>
            </a:extLst>
          </a:blip>
          <a:stretch>
            <a:fillRect/>
          </a:stretch>
        </p:blipFill>
        <p:spPr>
          <a:xfrm>
            <a:off x="358775" y="6267071"/>
            <a:ext cx="2230819" cy="288000"/>
          </a:xfrm>
          <a:prstGeom prst="rect">
            <a:avLst/>
          </a:prstGeom>
        </p:spPr>
      </p:pic>
    </p:spTree>
    <p:extLst>
      <p:ext uri="{BB962C8B-B14F-4D97-AF65-F5344CB8AC3E}">
        <p14:creationId xmlns:p14="http://schemas.microsoft.com/office/powerpoint/2010/main" val="1194077168"/>
      </p:ext>
    </p:extLst>
  </p:cSld>
  <p:clrMap bg1="lt1" tx1="dk1" bg2="lt2" tx2="dk2" accent1="accent1" accent2="accent2" accent3="accent3" accent4="accent4" accent5="accent5" accent6="accent6" hlink="hlink" folHlink="folHlink"/>
  <p:sldLayoutIdLst>
    <p:sldLayoutId id="2147483649" r:id="rId1"/>
    <p:sldLayoutId id="2147483708" r:id="rId2"/>
    <p:sldLayoutId id="2147483709" r:id="rId3"/>
    <p:sldLayoutId id="2147483710" r:id="rId4"/>
    <p:sldLayoutId id="2147483711" r:id="rId5"/>
    <p:sldLayoutId id="2147483660" r:id="rId6"/>
    <p:sldLayoutId id="2147483700" r:id="rId7"/>
    <p:sldLayoutId id="2147483661" r:id="rId8"/>
    <p:sldLayoutId id="2147483662" r:id="rId9"/>
    <p:sldLayoutId id="2147483651" r:id="rId10"/>
    <p:sldLayoutId id="2147483712" r:id="rId11"/>
    <p:sldLayoutId id="2147483713" r:id="rId12"/>
    <p:sldLayoutId id="2147483714" r:id="rId13"/>
    <p:sldLayoutId id="2147483715" r:id="rId14"/>
    <p:sldLayoutId id="2147483701" r:id="rId15"/>
    <p:sldLayoutId id="2147483665" r:id="rId16"/>
    <p:sldLayoutId id="2147483702" r:id="rId17"/>
    <p:sldLayoutId id="2147483666" r:id="rId18"/>
    <p:sldLayoutId id="2147483704" r:id="rId19"/>
    <p:sldLayoutId id="2147483694" r:id="rId20"/>
    <p:sldLayoutId id="2147483693" r:id="rId21"/>
    <p:sldLayoutId id="2147483686" r:id="rId22"/>
    <p:sldLayoutId id="2147483667" r:id="rId23"/>
    <p:sldLayoutId id="2147483691" r:id="rId24"/>
    <p:sldLayoutId id="2147483668" r:id="rId25"/>
    <p:sldLayoutId id="2147483695" r:id="rId26"/>
    <p:sldLayoutId id="2147483687" r:id="rId27"/>
    <p:sldLayoutId id="2147483690" r:id="rId28"/>
    <p:sldLayoutId id="2147483685" r:id="rId29"/>
    <p:sldLayoutId id="2147483670" r:id="rId30"/>
    <p:sldLayoutId id="2147483669" r:id="rId31"/>
    <p:sldLayoutId id="2147483671" r:id="rId32"/>
    <p:sldLayoutId id="2147483672" r:id="rId33"/>
    <p:sldLayoutId id="2147483673" r:id="rId34"/>
    <p:sldLayoutId id="2147483674" r:id="rId35"/>
    <p:sldLayoutId id="2147483675" r:id="rId36"/>
    <p:sldLayoutId id="2147483676" r:id="rId37"/>
    <p:sldLayoutId id="2147483689" r:id="rId38"/>
    <p:sldLayoutId id="2147483677" r:id="rId39"/>
    <p:sldLayoutId id="2147483716" r:id="rId40"/>
    <p:sldLayoutId id="2147483678" r:id="rId41"/>
    <p:sldLayoutId id="2147483698" r:id="rId42"/>
    <p:sldLayoutId id="2147483699" r:id="rId43"/>
    <p:sldLayoutId id="2147483680" r:id="rId44"/>
    <p:sldLayoutId id="2147483717" r:id="rId45"/>
    <p:sldLayoutId id="2147483718" r:id="rId46"/>
    <p:sldLayoutId id="2147483719" r:id="rId47"/>
    <p:sldLayoutId id="2147483720" r:id="rId48"/>
    <p:sldLayoutId id="2147483681" r:id="rId49"/>
    <p:sldLayoutId id="2147483703" r:id="rId50"/>
    <p:sldLayoutId id="2147483688" r:id="rId51"/>
    <p:sldLayoutId id="2147483679" r:id="rId52"/>
    <p:sldLayoutId id="2147483663" r:id="rId53"/>
    <p:sldLayoutId id="2147483664" r:id="rId54"/>
    <p:sldLayoutId id="2147483706" r:id="rId55"/>
  </p:sldLayoutIdLst>
  <p:hf hdr="0" ftr="0"/>
  <p:txStyles>
    <p:titleStyle>
      <a:lvl1pPr algn="l" defTabSz="914400" rtl="0" eaLnBrk="1" latinLnBrk="0" hangingPunct="1">
        <a:lnSpc>
          <a:spcPct val="90000"/>
        </a:lnSpc>
        <a:spcBef>
          <a:spcPct val="0"/>
        </a:spcBef>
        <a:buNone/>
        <a:defRPr sz="3200" kern="1200">
          <a:solidFill>
            <a:schemeClr val="tx1"/>
          </a:solidFill>
          <a:latin typeface="+mj-lt"/>
          <a:ea typeface="+mj-ea"/>
          <a:cs typeface="+mj-cs"/>
        </a:defRPr>
      </a:lvl1pPr>
    </p:titleStyle>
    <p:bodyStyle>
      <a:lvl1pPr marL="180000" indent="-1800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j-lt"/>
          <a:ea typeface="+mn-ea"/>
          <a:cs typeface="+mn-cs"/>
        </a:defRPr>
      </a:lvl1pPr>
      <a:lvl2pPr marL="180975" indent="-180975"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2pPr>
      <a:lvl3pPr marL="361950" indent="-180975"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542925" indent="-180975"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714375" indent="-17145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714375" indent="-171450" algn="l" defTabSz="914400" rtl="0" eaLnBrk="1" latinLnBrk="0" hangingPunct="1">
        <a:lnSpc>
          <a:spcPct val="90000"/>
        </a:lnSpc>
        <a:spcBef>
          <a:spcPts val="500"/>
        </a:spcBef>
        <a:buFont typeface="Arial" panose="020B0604020202020204" pitchFamily="34" charset="0"/>
        <a:buChar char="•"/>
        <a:tabLst/>
        <a:defRPr sz="1400" kern="1200">
          <a:solidFill>
            <a:schemeClr val="tx1"/>
          </a:solidFill>
          <a:latin typeface="+mn-lt"/>
          <a:ea typeface="+mn-ea"/>
          <a:cs typeface="+mn-cs"/>
        </a:defRPr>
      </a:lvl6pPr>
      <a:lvl7pPr marL="714375" indent="-171450" algn="l" defTabSz="914400" rtl="0" eaLnBrk="1" latinLnBrk="0" hangingPunct="1">
        <a:lnSpc>
          <a:spcPct val="90000"/>
        </a:lnSpc>
        <a:spcBef>
          <a:spcPts val="500"/>
        </a:spcBef>
        <a:buFont typeface="Arial" panose="020B0604020202020204" pitchFamily="34" charset="0"/>
        <a:buChar char="•"/>
        <a:tabLst/>
        <a:defRPr sz="1400" kern="1200">
          <a:solidFill>
            <a:schemeClr val="tx1"/>
          </a:solidFill>
          <a:latin typeface="+mn-lt"/>
          <a:ea typeface="+mn-ea"/>
          <a:cs typeface="+mn-cs"/>
        </a:defRPr>
      </a:lvl7pPr>
      <a:lvl8pPr marL="714375" indent="-171450" algn="l" defTabSz="914400" rtl="0" eaLnBrk="1" latinLnBrk="0" hangingPunct="1">
        <a:lnSpc>
          <a:spcPct val="90000"/>
        </a:lnSpc>
        <a:spcBef>
          <a:spcPts val="500"/>
        </a:spcBef>
        <a:buFont typeface="Arial" panose="020B0604020202020204" pitchFamily="34" charset="0"/>
        <a:buChar char="•"/>
        <a:tabLst/>
        <a:defRPr sz="1400" kern="1200">
          <a:solidFill>
            <a:schemeClr val="tx1"/>
          </a:solidFill>
          <a:latin typeface="+mn-lt"/>
          <a:ea typeface="+mn-ea"/>
          <a:cs typeface="+mn-cs"/>
        </a:defRPr>
      </a:lvl8pPr>
      <a:lvl9pPr marL="714375" indent="-171450" algn="l" defTabSz="914400" rtl="0" eaLnBrk="1" latinLnBrk="0" hangingPunct="1">
        <a:lnSpc>
          <a:spcPct val="90000"/>
        </a:lnSpc>
        <a:spcBef>
          <a:spcPts val="500"/>
        </a:spcBef>
        <a:buFont typeface="Arial" panose="020B0604020202020204" pitchFamily="34" charset="0"/>
        <a:buChar char="•"/>
        <a:tabLst/>
        <a:defRPr sz="14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37.xml"/><Relationship Id="rId2" Type="http://schemas.openxmlformats.org/officeDocument/2006/relationships/customXml" Target="../../customXml/item7.xml"/><Relationship Id="rId1" Type="http://schemas.openxmlformats.org/officeDocument/2006/relationships/customXml" Target="../../customXml/item6.xml"/><Relationship Id="rId5" Type="http://schemas.openxmlformats.org/officeDocument/2006/relationships/hyperlink" Target="https://commons.wikimedia.org/wiki/File:Flag_of_Laos.svg" TargetMode="External"/><Relationship Id="rId4" Type="http://schemas.openxmlformats.org/officeDocument/2006/relationships/image" Target="../media/image27.png"/></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42.xml"/><Relationship Id="rId2" Type="http://schemas.openxmlformats.org/officeDocument/2006/relationships/customXml" Target="../../customXml/item23.xml"/><Relationship Id="rId1" Type="http://schemas.openxmlformats.org/officeDocument/2006/relationships/customXml" Target="../../customXml/item22.xml"/><Relationship Id="rId4" Type="http://schemas.openxmlformats.org/officeDocument/2006/relationships/notesSlide" Target="../notesSlides/notesSlide6.xml"/></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42.xml"/><Relationship Id="rId2" Type="http://schemas.openxmlformats.org/officeDocument/2006/relationships/customXml" Target="../../customXml/item25.xml"/><Relationship Id="rId1" Type="http://schemas.openxmlformats.org/officeDocument/2006/relationships/customXml" Target="../../customXml/item24.xml"/><Relationship Id="rId4" Type="http://schemas.openxmlformats.org/officeDocument/2006/relationships/notesSlide" Target="../notesSlides/notesSlide7.xml"/></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42.xml"/><Relationship Id="rId2" Type="http://schemas.openxmlformats.org/officeDocument/2006/relationships/customXml" Target="../../customXml/item27.xml"/><Relationship Id="rId1" Type="http://schemas.openxmlformats.org/officeDocument/2006/relationships/customXml" Target="../../customXml/item26.xml"/><Relationship Id="rId4" Type="http://schemas.openxmlformats.org/officeDocument/2006/relationships/notesSlide" Target="../notesSlides/notesSlide8.xml"/></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42.xml"/><Relationship Id="rId2" Type="http://schemas.openxmlformats.org/officeDocument/2006/relationships/customXml" Target="../../customXml/item29.xml"/><Relationship Id="rId1" Type="http://schemas.openxmlformats.org/officeDocument/2006/relationships/customXml" Target="../../customXml/item28.xml"/><Relationship Id="rId4" Type="http://schemas.openxmlformats.org/officeDocument/2006/relationships/notesSlide" Target="../notesSlides/notesSlide9.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55.xml"/></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42.xml"/><Relationship Id="rId2" Type="http://schemas.openxmlformats.org/officeDocument/2006/relationships/customXml" Target="../../customXml/item31.xml"/><Relationship Id="rId1" Type="http://schemas.openxmlformats.org/officeDocument/2006/relationships/customXml" Target="../../customXml/item30.xml"/></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42.xml"/><Relationship Id="rId2" Type="http://schemas.openxmlformats.org/officeDocument/2006/relationships/customXml" Target="../../customXml/item33.xml"/><Relationship Id="rId1" Type="http://schemas.openxmlformats.org/officeDocument/2006/relationships/customXml" Target="../../customXml/item32.xml"/></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42.xml"/><Relationship Id="rId2" Type="http://schemas.openxmlformats.org/officeDocument/2006/relationships/customXml" Target="../../customXml/item35.xml"/><Relationship Id="rId1" Type="http://schemas.openxmlformats.org/officeDocument/2006/relationships/customXml" Target="../../customXml/item34.xml"/><Relationship Id="rId4" Type="http://schemas.openxmlformats.org/officeDocument/2006/relationships/notesSlide" Target="../notesSlides/notesSlide11.xml"/></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42.xml"/><Relationship Id="rId2" Type="http://schemas.openxmlformats.org/officeDocument/2006/relationships/customXml" Target="../../customXml/item37.xml"/><Relationship Id="rId1" Type="http://schemas.openxmlformats.org/officeDocument/2006/relationships/customXml" Target="../../customXml/item36.xml"/><Relationship Id="rId4" Type="http://schemas.openxmlformats.org/officeDocument/2006/relationships/notesSlide" Target="../notesSlides/notesSlide12.xml"/></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42.xml"/><Relationship Id="rId2" Type="http://schemas.openxmlformats.org/officeDocument/2006/relationships/customXml" Target="../../customXml/item39.xml"/><Relationship Id="rId1" Type="http://schemas.openxmlformats.org/officeDocument/2006/relationships/customXml" Target="../../customXml/item38.xml"/><Relationship Id="rId4" Type="http://schemas.openxmlformats.org/officeDocument/2006/relationships/image" Target="../media/image34.png"/></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42.xml"/><Relationship Id="rId2" Type="http://schemas.openxmlformats.org/officeDocument/2006/relationships/customXml" Target="../../customXml/item9.xml"/><Relationship Id="rId1" Type="http://schemas.openxmlformats.org/officeDocument/2006/relationships/customXml" Target="../../customXml/item8.xml"/><Relationship Id="rId5" Type="http://schemas.openxmlformats.org/officeDocument/2006/relationships/hyperlink" Target="http://www.theglobalfund.org/oig" TargetMode="External"/><Relationship Id="rId4" Type="http://schemas.openxmlformats.org/officeDocument/2006/relationships/image" Target="../media/image28.png"/></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10.xml"/><Relationship Id="rId2" Type="http://schemas.openxmlformats.org/officeDocument/2006/relationships/customXml" Target="../../customXml/item41.xml"/><Relationship Id="rId1" Type="http://schemas.openxmlformats.org/officeDocument/2006/relationships/customXml" Target="../../customXml/item40.xml"/><Relationship Id="rId5" Type="http://schemas.openxmlformats.org/officeDocument/2006/relationships/hyperlink" Target="https://www.ispeakoutnow.org/" TargetMode="External"/><Relationship Id="rId4" Type="http://schemas.openxmlformats.org/officeDocument/2006/relationships/image" Target="../media/image35.png"/></Relationships>
</file>

<file path=ppt/slides/_rels/slide21.xml.rels><?xml version="1.0" encoding="UTF-8" standalone="yes"?>
<Relationships xmlns="http://schemas.openxmlformats.org/package/2006/relationships"><Relationship Id="rId3" Type="http://schemas.openxmlformats.org/officeDocument/2006/relationships/slideLayout" Target="../slideLayouts/slideLayout42.xml"/><Relationship Id="rId2" Type="http://schemas.openxmlformats.org/officeDocument/2006/relationships/customXml" Target="../../customXml/item43.xml"/><Relationship Id="rId1" Type="http://schemas.openxmlformats.org/officeDocument/2006/relationships/customXml" Target="../../customXml/item42.xml"/><Relationship Id="rId4" Type="http://schemas.openxmlformats.org/officeDocument/2006/relationships/image" Target="../media/image36.jpeg"/></Relationships>
</file>

<file path=ppt/slides/_rels/slide3.xml.rels><?xml version="1.0" encoding="UTF-8" standalone="yes"?>
<Relationships xmlns="http://schemas.openxmlformats.org/package/2006/relationships"><Relationship Id="rId8" Type="http://schemas.openxmlformats.org/officeDocument/2006/relationships/image" Target="../media/image33.png"/><Relationship Id="rId3" Type="http://schemas.openxmlformats.org/officeDocument/2006/relationships/slideLayout" Target="../slideLayouts/slideLayout37.xml"/><Relationship Id="rId7" Type="http://schemas.openxmlformats.org/officeDocument/2006/relationships/image" Target="../media/image32.png"/><Relationship Id="rId2" Type="http://schemas.openxmlformats.org/officeDocument/2006/relationships/customXml" Target="../../customXml/item11.xml"/><Relationship Id="rId1" Type="http://schemas.openxmlformats.org/officeDocument/2006/relationships/customXml" Target="../../customXml/item10.xml"/><Relationship Id="rId6" Type="http://schemas.openxmlformats.org/officeDocument/2006/relationships/image" Target="../media/image31.png"/><Relationship Id="rId5" Type="http://schemas.openxmlformats.org/officeDocument/2006/relationships/image" Target="../media/image30.png"/><Relationship Id="rId10" Type="http://schemas.openxmlformats.org/officeDocument/2006/relationships/hyperlink" Target="https://commons.wikimedia.org/wiki/File:Flag_of_Laos.svg" TargetMode="External"/><Relationship Id="rId4" Type="http://schemas.openxmlformats.org/officeDocument/2006/relationships/image" Target="../media/image29.png"/><Relationship Id="rId9" Type="http://schemas.openxmlformats.org/officeDocument/2006/relationships/image" Target="../media/image27.png"/></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42.xml"/><Relationship Id="rId2" Type="http://schemas.openxmlformats.org/officeDocument/2006/relationships/customXml" Target="../../customXml/item13.xml"/><Relationship Id="rId1" Type="http://schemas.openxmlformats.org/officeDocument/2006/relationships/customXml" Target="../../customXml/item12.xml"/><Relationship Id="rId4" Type="http://schemas.openxmlformats.org/officeDocument/2006/relationships/notesSlide" Target="../notesSlides/notesSlide1.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42.xml"/><Relationship Id="rId2" Type="http://schemas.openxmlformats.org/officeDocument/2006/relationships/customXml" Target="../../customXml/item15.xml"/><Relationship Id="rId1" Type="http://schemas.openxmlformats.org/officeDocument/2006/relationships/customXml" Target="../../customXml/item14.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55.xml"/></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42.xml"/><Relationship Id="rId2" Type="http://schemas.openxmlformats.org/officeDocument/2006/relationships/customXml" Target="../../customXml/item17.xml"/><Relationship Id="rId1" Type="http://schemas.openxmlformats.org/officeDocument/2006/relationships/customXml" Target="../../customXml/item16.xml"/><Relationship Id="rId4" Type="http://schemas.openxmlformats.org/officeDocument/2006/relationships/notesSlide" Target="../notesSlides/notesSlide3.xml"/></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42.xml"/><Relationship Id="rId2" Type="http://schemas.openxmlformats.org/officeDocument/2006/relationships/customXml" Target="../../customXml/item19.xml"/><Relationship Id="rId1" Type="http://schemas.openxmlformats.org/officeDocument/2006/relationships/customXml" Target="../../customXml/item18.xml"/><Relationship Id="rId4" Type="http://schemas.openxmlformats.org/officeDocument/2006/relationships/notesSlide" Target="../notesSlides/notesSlide4.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42.xml"/><Relationship Id="rId2" Type="http://schemas.openxmlformats.org/officeDocument/2006/relationships/customXml" Target="../../customXml/item21.xml"/><Relationship Id="rId1" Type="http://schemas.openxmlformats.org/officeDocument/2006/relationships/customXml" Target="../../customXml/item20.xml"/><Relationship Id="rId4" Type="http://schemas.openxmlformats.org/officeDocument/2006/relationships/notesSlide" Target="../notesSlides/notesSlide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17FECC35-8DD2-415E-A2D6-49EB018C9B72}"/>
              </a:ext>
            </a:extLst>
          </p:cNvPr>
          <p:cNvSpPr>
            <a:spLocks noGrp="1"/>
          </p:cNvSpPr>
          <p:nvPr>
            <p:ph type="sldNum" sz="quarter" idx="20"/>
          </p:nvPr>
        </p:nvSpPr>
        <p:spPr/>
        <p:txBody>
          <a:bodyPr/>
          <a:lstStyle/>
          <a:p>
            <a:fld id="{9E2BE927-25C7-4379-86F1-C17ED9D2A7F2}" type="slidenum">
              <a:rPr lang="en-US" smtClean="0"/>
              <a:pPr/>
              <a:t>1</a:t>
            </a:fld>
            <a:endParaRPr lang="en-US"/>
          </a:p>
        </p:txBody>
      </p:sp>
      <p:sp>
        <p:nvSpPr>
          <p:cNvPr id="4" name="Text Placeholder 3">
            <a:extLst>
              <a:ext uri="{FF2B5EF4-FFF2-40B4-BE49-F238E27FC236}">
                <a16:creationId xmlns:a16="http://schemas.microsoft.com/office/drawing/2014/main" id="{67DCB857-E923-45BF-9B48-DE94393FF141}"/>
              </a:ext>
            </a:extLst>
          </p:cNvPr>
          <p:cNvSpPr>
            <a:spLocks noGrp="1"/>
          </p:cNvSpPr>
          <p:nvPr>
            <p:ph type="body" sz="quarter" idx="21"/>
          </p:nvPr>
        </p:nvSpPr>
        <p:spPr>
          <a:xfrm>
            <a:off x="327096" y="1937112"/>
            <a:ext cx="6491121" cy="970688"/>
          </a:xfrm>
        </p:spPr>
        <p:txBody>
          <a:bodyPr/>
          <a:lstStyle/>
          <a:p>
            <a:r>
              <a:rPr lang="en-US" sz="3600" dirty="0"/>
              <a:t>HIV/TB Thematic Audit in Southeast Asia (Lao PDR)</a:t>
            </a:r>
          </a:p>
        </p:txBody>
      </p:sp>
      <p:sp>
        <p:nvSpPr>
          <p:cNvPr id="5" name="Text Placeholder 4">
            <a:extLst>
              <a:ext uri="{FF2B5EF4-FFF2-40B4-BE49-F238E27FC236}">
                <a16:creationId xmlns:a16="http://schemas.microsoft.com/office/drawing/2014/main" id="{B4251150-E3B4-4488-AFCD-9AF3C54F75BD}"/>
              </a:ext>
            </a:extLst>
          </p:cNvPr>
          <p:cNvSpPr>
            <a:spLocks noGrp="1"/>
          </p:cNvSpPr>
          <p:nvPr>
            <p:ph type="body" sz="quarter" idx="22"/>
          </p:nvPr>
        </p:nvSpPr>
        <p:spPr>
          <a:xfrm>
            <a:off x="327096" y="4358101"/>
            <a:ext cx="3115754" cy="1169092"/>
          </a:xfrm>
        </p:spPr>
        <p:txBody>
          <a:bodyPr/>
          <a:lstStyle/>
          <a:p>
            <a:r>
              <a:rPr lang="en-US" dirty="0"/>
              <a:t>26 October 2023</a:t>
            </a:r>
          </a:p>
          <a:p>
            <a:endParaRPr lang="en-US" dirty="0"/>
          </a:p>
          <a:p>
            <a:r>
              <a:rPr lang="en-US" dirty="0"/>
              <a:t>Vientiane, Lao PDR </a:t>
            </a:r>
          </a:p>
        </p:txBody>
      </p:sp>
      <p:sp>
        <p:nvSpPr>
          <p:cNvPr id="6" name="Text Placeholder 5">
            <a:extLst>
              <a:ext uri="{FF2B5EF4-FFF2-40B4-BE49-F238E27FC236}">
                <a16:creationId xmlns:a16="http://schemas.microsoft.com/office/drawing/2014/main" id="{8934908B-D319-4B87-9E25-2D53D136ED62}"/>
              </a:ext>
            </a:extLst>
          </p:cNvPr>
          <p:cNvSpPr>
            <a:spLocks noGrp="1"/>
          </p:cNvSpPr>
          <p:nvPr>
            <p:ph type="body" sz="quarter" idx="23"/>
          </p:nvPr>
        </p:nvSpPr>
        <p:spPr>
          <a:xfrm>
            <a:off x="358775" y="3429000"/>
            <a:ext cx="5068888" cy="416333"/>
          </a:xfrm>
        </p:spPr>
        <p:txBody>
          <a:bodyPr/>
          <a:lstStyle/>
          <a:p>
            <a:r>
              <a:rPr lang="en-US" sz="2800" b="1" dirty="0"/>
              <a:t>CCM Debrief Meeting</a:t>
            </a:r>
          </a:p>
        </p:txBody>
      </p:sp>
      <p:cxnSp>
        <p:nvCxnSpPr>
          <p:cNvPr id="10" name="Straight Connector 9">
            <a:extLst>
              <a:ext uri="{FF2B5EF4-FFF2-40B4-BE49-F238E27FC236}">
                <a16:creationId xmlns:a16="http://schemas.microsoft.com/office/drawing/2014/main" id="{E75C1793-ADC3-FDEA-49C4-DF23AAAE2566}"/>
              </a:ext>
            </a:extLst>
          </p:cNvPr>
          <p:cNvCxnSpPr>
            <a:cxnSpLocks/>
          </p:cNvCxnSpPr>
          <p:nvPr/>
        </p:nvCxnSpPr>
        <p:spPr>
          <a:xfrm flipH="1">
            <a:off x="327096" y="3167810"/>
            <a:ext cx="5132246" cy="118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pic>
        <p:nvPicPr>
          <p:cNvPr id="2" name="Picture 1">
            <a:extLst>
              <a:ext uri="{FF2B5EF4-FFF2-40B4-BE49-F238E27FC236}">
                <a16:creationId xmlns:a16="http://schemas.microsoft.com/office/drawing/2014/main" id="{42A9B9BA-2A85-4B8B-83AA-9D1256475F52}"/>
              </a:ext>
            </a:extLst>
          </p:cNvPr>
          <p:cNvPicPr>
            <a:picLocks noChangeAspect="1"/>
          </p:cNvPicPr>
          <p:nvPr/>
        </p:nvPicPr>
        <p:blipFill>
          <a:blip r:embed="rId4">
            <a:extLst>
              <a:ext uri="{28A0092B-C50C-407E-A947-70E740481C1C}">
                <a14:useLocalDpi xmlns:a14="http://schemas.microsoft.com/office/drawing/2010/main" val="0"/>
              </a:ext>
              <a:ext uri="{837473B0-CC2E-450A-ABE3-18F120FF3D39}">
                <a1611:picAttrSrcUrl xmlns:a1611="http://schemas.microsoft.com/office/drawing/2016/11/main" r:id="rId5"/>
              </a:ext>
            </a:extLst>
          </a:blip>
          <a:srcRect l="17787" r="17787"/>
          <a:stretch/>
        </p:blipFill>
        <p:spPr>
          <a:xfrm>
            <a:off x="6240087" y="731519"/>
            <a:ext cx="5757949" cy="5137267"/>
          </a:xfrm>
          <a:custGeom>
            <a:avLst/>
            <a:gdLst>
              <a:gd name="connsiteX0" fmla="*/ 629011 w 6616265"/>
              <a:gd name="connsiteY0" fmla="*/ 6807681 h 6843715"/>
              <a:gd name="connsiteX1" fmla="*/ 674414 w 6616265"/>
              <a:gd name="connsiteY1" fmla="*/ 6821955 h 6843715"/>
              <a:gd name="connsiteX2" fmla="*/ 692183 w 6616265"/>
              <a:gd name="connsiteY2" fmla="*/ 6843715 h 6843715"/>
              <a:gd name="connsiteX3" fmla="*/ 566186 w 6616265"/>
              <a:gd name="connsiteY3" fmla="*/ 6843715 h 6843715"/>
              <a:gd name="connsiteX4" fmla="*/ 583691 w 6616265"/>
              <a:gd name="connsiteY4" fmla="*/ 6821713 h 6843715"/>
              <a:gd name="connsiteX5" fmla="*/ 629011 w 6616265"/>
              <a:gd name="connsiteY5" fmla="*/ 6807681 h 6843715"/>
              <a:gd name="connsiteX6" fmla="*/ 1201250 w 6616265"/>
              <a:gd name="connsiteY6" fmla="*/ 6737360 h 6843715"/>
              <a:gd name="connsiteX7" fmla="*/ 1330440 w 6616265"/>
              <a:gd name="connsiteY7" fmla="*/ 6810301 h 6843715"/>
              <a:gd name="connsiteX8" fmla="*/ 1343433 w 6616265"/>
              <a:gd name="connsiteY8" fmla="*/ 6843715 h 6843715"/>
              <a:gd name="connsiteX9" fmla="*/ 1059118 w 6616265"/>
              <a:gd name="connsiteY9" fmla="*/ 6843715 h 6843715"/>
              <a:gd name="connsiteX10" fmla="*/ 1072333 w 6616265"/>
              <a:gd name="connsiteY10" fmla="*/ 6810029 h 6843715"/>
              <a:gd name="connsiteX11" fmla="*/ 1201250 w 6616265"/>
              <a:gd name="connsiteY11" fmla="*/ 6737360 h 6843715"/>
              <a:gd name="connsiteX12" fmla="*/ 56772 w 6616265"/>
              <a:gd name="connsiteY12" fmla="*/ 6273505 h 6843715"/>
              <a:gd name="connsiteX13" fmla="*/ 99350 w 6616265"/>
              <a:gd name="connsiteY13" fmla="*/ 6316084 h 6843715"/>
              <a:gd name="connsiteX14" fmla="*/ 56772 w 6616265"/>
              <a:gd name="connsiteY14" fmla="*/ 6358663 h 6843715"/>
              <a:gd name="connsiteX15" fmla="*/ 14192 w 6616265"/>
              <a:gd name="connsiteY15" fmla="*/ 6316084 h 6843715"/>
              <a:gd name="connsiteX16" fmla="*/ 56772 w 6616265"/>
              <a:gd name="connsiteY16" fmla="*/ 6273505 h 6843715"/>
              <a:gd name="connsiteX17" fmla="*/ 629011 w 6616265"/>
              <a:gd name="connsiteY17" fmla="*/ 6216087 h 6843715"/>
              <a:gd name="connsiteX18" fmla="*/ 729008 w 6616265"/>
              <a:gd name="connsiteY18" fmla="*/ 6316083 h 6843715"/>
              <a:gd name="connsiteX19" fmla="*/ 629011 w 6616265"/>
              <a:gd name="connsiteY19" fmla="*/ 6416081 h 6843715"/>
              <a:gd name="connsiteX20" fmla="*/ 529015 w 6616265"/>
              <a:gd name="connsiteY20" fmla="*/ 6316083 h 6843715"/>
              <a:gd name="connsiteX21" fmla="*/ 629011 w 6616265"/>
              <a:gd name="connsiteY21" fmla="*/ 6216087 h 6843715"/>
              <a:gd name="connsiteX22" fmla="*/ 1201251 w 6616265"/>
              <a:gd name="connsiteY22" fmla="*/ 6134800 h 6843715"/>
              <a:gd name="connsiteX23" fmla="*/ 1382536 w 6616265"/>
              <a:gd name="connsiteY23" fmla="*/ 6316084 h 6843715"/>
              <a:gd name="connsiteX24" fmla="*/ 1201251 w 6616265"/>
              <a:gd name="connsiteY24" fmla="*/ 6497368 h 6843715"/>
              <a:gd name="connsiteX25" fmla="*/ 1019967 w 6616265"/>
              <a:gd name="connsiteY25" fmla="*/ 6316084 h 6843715"/>
              <a:gd name="connsiteX26" fmla="*/ 1201251 w 6616265"/>
              <a:gd name="connsiteY26" fmla="*/ 6134800 h 6843715"/>
              <a:gd name="connsiteX27" fmla="*/ 56773 w 6616265"/>
              <a:gd name="connsiteY27" fmla="*/ 5692879 h 6843715"/>
              <a:gd name="connsiteX28" fmla="*/ 107738 w 6616265"/>
              <a:gd name="connsiteY28" fmla="*/ 5743845 h 6843715"/>
              <a:gd name="connsiteX29" fmla="*/ 56773 w 6616265"/>
              <a:gd name="connsiteY29" fmla="*/ 5794811 h 6843715"/>
              <a:gd name="connsiteX30" fmla="*/ 5806 w 6616265"/>
              <a:gd name="connsiteY30" fmla="*/ 5743845 h 6843715"/>
              <a:gd name="connsiteX31" fmla="*/ 56773 w 6616265"/>
              <a:gd name="connsiteY31" fmla="*/ 5692879 h 6843715"/>
              <a:gd name="connsiteX32" fmla="*/ 629011 w 6616265"/>
              <a:gd name="connsiteY32" fmla="*/ 5627719 h 6843715"/>
              <a:gd name="connsiteX33" fmla="*/ 744491 w 6616265"/>
              <a:gd name="connsiteY33" fmla="*/ 5743199 h 6843715"/>
              <a:gd name="connsiteX34" fmla="*/ 629011 w 6616265"/>
              <a:gd name="connsiteY34" fmla="*/ 5858679 h 6843715"/>
              <a:gd name="connsiteX35" fmla="*/ 513532 w 6616265"/>
              <a:gd name="connsiteY35" fmla="*/ 5743199 h 6843715"/>
              <a:gd name="connsiteX36" fmla="*/ 629011 w 6616265"/>
              <a:gd name="connsiteY36" fmla="*/ 5627719 h 6843715"/>
              <a:gd name="connsiteX37" fmla="*/ 1201250 w 6616265"/>
              <a:gd name="connsiteY37" fmla="*/ 5539980 h 6843715"/>
              <a:gd name="connsiteX38" fmla="*/ 1404470 w 6616265"/>
              <a:gd name="connsiteY38" fmla="*/ 5743199 h 6843715"/>
              <a:gd name="connsiteX39" fmla="*/ 1201250 w 6616265"/>
              <a:gd name="connsiteY39" fmla="*/ 5946419 h 6843715"/>
              <a:gd name="connsiteX40" fmla="*/ 998031 w 6616265"/>
              <a:gd name="connsiteY40" fmla="*/ 5743199 h 6843715"/>
              <a:gd name="connsiteX41" fmla="*/ 1201250 w 6616265"/>
              <a:gd name="connsiteY41" fmla="*/ 5539980 h 6843715"/>
              <a:gd name="connsiteX42" fmla="*/ 56772 w 6616265"/>
              <a:gd name="connsiteY42" fmla="*/ 5114188 h 6843715"/>
              <a:gd name="connsiteX43" fmla="*/ 113543 w 6616265"/>
              <a:gd name="connsiteY43" fmla="*/ 5170960 h 6843715"/>
              <a:gd name="connsiteX44" fmla="*/ 56772 w 6616265"/>
              <a:gd name="connsiteY44" fmla="*/ 5227732 h 6843715"/>
              <a:gd name="connsiteX45" fmla="*/ 0 w 6616265"/>
              <a:gd name="connsiteY45" fmla="*/ 5170960 h 6843715"/>
              <a:gd name="connsiteX46" fmla="*/ 56772 w 6616265"/>
              <a:gd name="connsiteY46" fmla="*/ 5114188 h 6843715"/>
              <a:gd name="connsiteX47" fmla="*/ 629011 w 6616265"/>
              <a:gd name="connsiteY47" fmla="*/ 5045803 h 6843715"/>
              <a:gd name="connsiteX48" fmla="*/ 754168 w 6616265"/>
              <a:gd name="connsiteY48" fmla="*/ 5170960 h 6843715"/>
              <a:gd name="connsiteX49" fmla="*/ 629011 w 6616265"/>
              <a:gd name="connsiteY49" fmla="*/ 5296117 h 6843715"/>
              <a:gd name="connsiteX50" fmla="*/ 503854 w 6616265"/>
              <a:gd name="connsiteY50" fmla="*/ 5170960 h 6843715"/>
              <a:gd name="connsiteX51" fmla="*/ 629011 w 6616265"/>
              <a:gd name="connsiteY51" fmla="*/ 5045803 h 6843715"/>
              <a:gd name="connsiteX52" fmla="*/ 1201250 w 6616265"/>
              <a:gd name="connsiteY52" fmla="*/ 4954192 h 6843715"/>
              <a:gd name="connsiteX53" fmla="*/ 1401022 w 6616265"/>
              <a:gd name="connsiteY53" fmla="*/ 5086466 h 6843715"/>
              <a:gd name="connsiteX54" fmla="*/ 1410074 w 6616265"/>
              <a:gd name="connsiteY54" fmla="*/ 5131470 h 6843715"/>
              <a:gd name="connsiteX55" fmla="*/ 1406404 w 6616265"/>
              <a:gd name="connsiteY55" fmla="*/ 5157374 h 6843715"/>
              <a:gd name="connsiteX56" fmla="*/ 1412511 w 6616265"/>
              <a:gd name="connsiteY56" fmla="*/ 5198249 h 6843715"/>
              <a:gd name="connsiteX57" fmla="*/ 1401022 w 6616265"/>
              <a:gd name="connsiteY57" fmla="*/ 5255180 h 6843715"/>
              <a:gd name="connsiteX58" fmla="*/ 1201250 w 6616265"/>
              <a:gd name="connsiteY58" fmla="*/ 5387727 h 6843715"/>
              <a:gd name="connsiteX59" fmla="*/ 984484 w 6616265"/>
              <a:gd name="connsiteY59" fmla="*/ 5170959 h 6843715"/>
              <a:gd name="connsiteX60" fmla="*/ 1201250 w 6616265"/>
              <a:gd name="connsiteY60" fmla="*/ 4954192 h 6843715"/>
              <a:gd name="connsiteX61" fmla="*/ 56772 w 6616265"/>
              <a:gd name="connsiteY61" fmla="*/ 4541948 h 6843715"/>
              <a:gd name="connsiteX62" fmla="*/ 113543 w 6616265"/>
              <a:gd name="connsiteY62" fmla="*/ 4598720 h 6843715"/>
              <a:gd name="connsiteX63" fmla="*/ 56772 w 6616265"/>
              <a:gd name="connsiteY63" fmla="*/ 4655492 h 6843715"/>
              <a:gd name="connsiteX64" fmla="*/ 0 w 6616265"/>
              <a:gd name="connsiteY64" fmla="*/ 4598720 h 6843715"/>
              <a:gd name="connsiteX65" fmla="*/ 56772 w 6616265"/>
              <a:gd name="connsiteY65" fmla="*/ 4541948 h 6843715"/>
              <a:gd name="connsiteX66" fmla="*/ 629011 w 6616265"/>
              <a:gd name="connsiteY66" fmla="*/ 4471628 h 6843715"/>
              <a:gd name="connsiteX67" fmla="*/ 756105 w 6616265"/>
              <a:gd name="connsiteY67" fmla="*/ 4598720 h 6843715"/>
              <a:gd name="connsiteX68" fmla="*/ 629011 w 6616265"/>
              <a:gd name="connsiteY68" fmla="*/ 4725814 h 6843715"/>
              <a:gd name="connsiteX69" fmla="*/ 501919 w 6616265"/>
              <a:gd name="connsiteY69" fmla="*/ 4598720 h 6843715"/>
              <a:gd name="connsiteX70" fmla="*/ 629011 w 6616265"/>
              <a:gd name="connsiteY70" fmla="*/ 4471628 h 6843715"/>
              <a:gd name="connsiteX71" fmla="*/ 1201250 w 6616265"/>
              <a:gd name="connsiteY71" fmla="*/ 4380018 h 6843715"/>
              <a:gd name="connsiteX72" fmla="*/ 1402746 w 6616265"/>
              <a:gd name="connsiteY72" fmla="*/ 4513653 h 6843715"/>
              <a:gd name="connsiteX73" fmla="*/ 1409763 w 6616265"/>
              <a:gd name="connsiteY73" fmla="*/ 4548338 h 6843715"/>
              <a:gd name="connsiteX74" fmla="*/ 1404469 w 6616265"/>
              <a:gd name="connsiteY74" fmla="*/ 4585134 h 6843715"/>
              <a:gd name="connsiteX75" fmla="*/ 1411993 w 6616265"/>
              <a:gd name="connsiteY75" fmla="*/ 4638076 h 6843715"/>
              <a:gd name="connsiteX76" fmla="*/ 1402746 w 6616265"/>
              <a:gd name="connsiteY76" fmla="*/ 4683789 h 6843715"/>
              <a:gd name="connsiteX77" fmla="*/ 1201250 w 6616265"/>
              <a:gd name="connsiteY77" fmla="*/ 4817424 h 6843715"/>
              <a:gd name="connsiteX78" fmla="*/ 982548 w 6616265"/>
              <a:gd name="connsiteY78" fmla="*/ 4598720 h 6843715"/>
              <a:gd name="connsiteX79" fmla="*/ 1201250 w 6616265"/>
              <a:gd name="connsiteY79" fmla="*/ 4380018 h 6843715"/>
              <a:gd name="connsiteX80" fmla="*/ 56772 w 6616265"/>
              <a:gd name="connsiteY80" fmla="*/ 3971645 h 6843715"/>
              <a:gd name="connsiteX81" fmla="*/ 111609 w 6616265"/>
              <a:gd name="connsiteY81" fmla="*/ 4026482 h 6843715"/>
              <a:gd name="connsiteX82" fmla="*/ 56772 w 6616265"/>
              <a:gd name="connsiteY82" fmla="*/ 4081319 h 6843715"/>
              <a:gd name="connsiteX83" fmla="*/ 1935 w 6616265"/>
              <a:gd name="connsiteY83" fmla="*/ 4026482 h 6843715"/>
              <a:gd name="connsiteX84" fmla="*/ 56772 w 6616265"/>
              <a:gd name="connsiteY84" fmla="*/ 3971645 h 6843715"/>
              <a:gd name="connsiteX85" fmla="*/ 629011 w 6616265"/>
              <a:gd name="connsiteY85" fmla="*/ 3905840 h 6843715"/>
              <a:gd name="connsiteX86" fmla="*/ 749008 w 6616265"/>
              <a:gd name="connsiteY86" fmla="*/ 4025836 h 6843715"/>
              <a:gd name="connsiteX87" fmla="*/ 629011 w 6616265"/>
              <a:gd name="connsiteY87" fmla="*/ 4145833 h 6843715"/>
              <a:gd name="connsiteX88" fmla="*/ 509015 w 6616265"/>
              <a:gd name="connsiteY88" fmla="*/ 4025836 h 6843715"/>
              <a:gd name="connsiteX89" fmla="*/ 629011 w 6616265"/>
              <a:gd name="connsiteY89" fmla="*/ 3905840 h 6843715"/>
              <a:gd name="connsiteX90" fmla="*/ 1203892 w 6616265"/>
              <a:gd name="connsiteY90" fmla="*/ 3814493 h 6843715"/>
              <a:gd name="connsiteX91" fmla="*/ 1409012 w 6616265"/>
              <a:gd name="connsiteY91" fmla="*/ 3986119 h 6843715"/>
              <a:gd name="connsiteX92" fmla="*/ 1410785 w 6616265"/>
              <a:gd name="connsiteY92" fmla="*/ 4005809 h 6843715"/>
              <a:gd name="connsiteX93" fmla="*/ 1410276 w 6616265"/>
              <a:gd name="connsiteY93" fmla="*/ 4012250 h 6843715"/>
              <a:gd name="connsiteX94" fmla="*/ 1412759 w 6616265"/>
              <a:gd name="connsiteY94" fmla="*/ 4029675 h 6843715"/>
              <a:gd name="connsiteX95" fmla="*/ 1408258 w 6616265"/>
              <a:gd name="connsiteY95" fmla="*/ 4070146 h 6843715"/>
              <a:gd name="connsiteX96" fmla="*/ 1241229 w 6616265"/>
              <a:gd name="connsiteY96" fmla="*/ 4233930 h 6843715"/>
              <a:gd name="connsiteX97" fmla="*/ 993420 w 6616265"/>
              <a:gd name="connsiteY97" fmla="*/ 4066148 h 6843715"/>
              <a:gd name="connsiteX98" fmla="*/ 1161200 w 6616265"/>
              <a:gd name="connsiteY98" fmla="*/ 3818336 h 6843715"/>
              <a:gd name="connsiteX99" fmla="*/ 1203892 w 6616265"/>
              <a:gd name="connsiteY99" fmla="*/ 3814493 h 6843715"/>
              <a:gd name="connsiteX100" fmla="*/ 56773 w 6616265"/>
              <a:gd name="connsiteY100" fmla="*/ 3404567 h 6843715"/>
              <a:gd name="connsiteX101" fmla="*/ 105802 w 6616265"/>
              <a:gd name="connsiteY101" fmla="*/ 3453598 h 6843715"/>
              <a:gd name="connsiteX102" fmla="*/ 56773 w 6616265"/>
              <a:gd name="connsiteY102" fmla="*/ 3502627 h 6843715"/>
              <a:gd name="connsiteX103" fmla="*/ 7742 w 6616265"/>
              <a:gd name="connsiteY103" fmla="*/ 3453598 h 6843715"/>
              <a:gd name="connsiteX104" fmla="*/ 56773 w 6616265"/>
              <a:gd name="connsiteY104" fmla="*/ 3404567 h 6843715"/>
              <a:gd name="connsiteX105" fmla="*/ 629011 w 6616265"/>
              <a:gd name="connsiteY105" fmla="*/ 3346504 h 6843715"/>
              <a:gd name="connsiteX106" fmla="*/ 736105 w 6616265"/>
              <a:gd name="connsiteY106" fmla="*/ 3453598 h 6843715"/>
              <a:gd name="connsiteX107" fmla="*/ 629011 w 6616265"/>
              <a:gd name="connsiteY107" fmla="*/ 3560691 h 6843715"/>
              <a:gd name="connsiteX108" fmla="*/ 521918 w 6616265"/>
              <a:gd name="connsiteY108" fmla="*/ 3453598 h 6843715"/>
              <a:gd name="connsiteX109" fmla="*/ 629011 w 6616265"/>
              <a:gd name="connsiteY109" fmla="*/ 3346504 h 6843715"/>
              <a:gd name="connsiteX110" fmla="*/ 1202686 w 6616265"/>
              <a:gd name="connsiteY110" fmla="*/ 3262070 h 6843715"/>
              <a:gd name="connsiteX111" fmla="*/ 1378371 w 6616265"/>
              <a:gd name="connsiteY111" fmla="*/ 3380400 h 6843715"/>
              <a:gd name="connsiteX112" fmla="*/ 1274673 w 6616265"/>
              <a:gd name="connsiteY112" fmla="*/ 3630753 h 6843715"/>
              <a:gd name="connsiteX113" fmla="*/ 1024320 w 6616265"/>
              <a:gd name="connsiteY113" fmla="*/ 3527055 h 6843715"/>
              <a:gd name="connsiteX114" fmla="*/ 1128017 w 6616265"/>
              <a:gd name="connsiteY114" fmla="*/ 3276702 h 6843715"/>
              <a:gd name="connsiteX115" fmla="*/ 1202686 w 6616265"/>
              <a:gd name="connsiteY115" fmla="*/ 3262070 h 6843715"/>
              <a:gd name="connsiteX116" fmla="*/ 56772 w 6616265"/>
              <a:gd name="connsiteY116" fmla="*/ 2842650 h 6843715"/>
              <a:gd name="connsiteX117" fmla="*/ 95481 w 6616265"/>
              <a:gd name="connsiteY117" fmla="*/ 2881358 h 6843715"/>
              <a:gd name="connsiteX118" fmla="*/ 56772 w 6616265"/>
              <a:gd name="connsiteY118" fmla="*/ 2920067 h 6843715"/>
              <a:gd name="connsiteX119" fmla="*/ 18064 w 6616265"/>
              <a:gd name="connsiteY119" fmla="*/ 2881358 h 6843715"/>
              <a:gd name="connsiteX120" fmla="*/ 56772 w 6616265"/>
              <a:gd name="connsiteY120" fmla="*/ 2842650 h 6843715"/>
              <a:gd name="connsiteX121" fmla="*/ 629011 w 6616265"/>
              <a:gd name="connsiteY121" fmla="*/ 2794264 h 6843715"/>
              <a:gd name="connsiteX122" fmla="*/ 716105 w 6616265"/>
              <a:gd name="connsiteY122" fmla="*/ 2881358 h 6843715"/>
              <a:gd name="connsiteX123" fmla="*/ 629011 w 6616265"/>
              <a:gd name="connsiteY123" fmla="*/ 2968451 h 6843715"/>
              <a:gd name="connsiteX124" fmla="*/ 541918 w 6616265"/>
              <a:gd name="connsiteY124" fmla="*/ 2881358 h 6843715"/>
              <a:gd name="connsiteX125" fmla="*/ 629011 w 6616265"/>
              <a:gd name="connsiteY125" fmla="*/ 2794264 h 6843715"/>
              <a:gd name="connsiteX126" fmla="*/ 1201251 w 6616265"/>
              <a:gd name="connsiteY126" fmla="*/ 2715556 h 6843715"/>
              <a:gd name="connsiteX127" fmla="*/ 1367053 w 6616265"/>
              <a:gd name="connsiteY127" fmla="*/ 2881358 h 6843715"/>
              <a:gd name="connsiteX128" fmla="*/ 1201251 w 6616265"/>
              <a:gd name="connsiteY128" fmla="*/ 3047159 h 6843715"/>
              <a:gd name="connsiteX129" fmla="*/ 1035450 w 6616265"/>
              <a:gd name="connsiteY129" fmla="*/ 2881358 h 6843715"/>
              <a:gd name="connsiteX130" fmla="*/ 1201251 w 6616265"/>
              <a:gd name="connsiteY130" fmla="*/ 2715556 h 6843715"/>
              <a:gd name="connsiteX131" fmla="*/ 629011 w 6616265"/>
              <a:gd name="connsiteY131" fmla="*/ 2240733 h 6843715"/>
              <a:gd name="connsiteX132" fmla="*/ 696752 w 6616265"/>
              <a:gd name="connsiteY132" fmla="*/ 2308473 h 6843715"/>
              <a:gd name="connsiteX133" fmla="*/ 629011 w 6616265"/>
              <a:gd name="connsiteY133" fmla="*/ 2376215 h 6843715"/>
              <a:gd name="connsiteX134" fmla="*/ 561272 w 6616265"/>
              <a:gd name="connsiteY134" fmla="*/ 2308473 h 6843715"/>
              <a:gd name="connsiteX135" fmla="*/ 629011 w 6616265"/>
              <a:gd name="connsiteY135" fmla="*/ 2240733 h 6843715"/>
              <a:gd name="connsiteX136" fmla="*/ 1201250 w 6616265"/>
              <a:gd name="connsiteY136" fmla="*/ 2176227 h 6843715"/>
              <a:gd name="connsiteX137" fmla="*/ 1333504 w 6616265"/>
              <a:gd name="connsiteY137" fmla="*/ 2308480 h 6843715"/>
              <a:gd name="connsiteX138" fmla="*/ 1201250 w 6616265"/>
              <a:gd name="connsiteY138" fmla="*/ 2440726 h 6843715"/>
              <a:gd name="connsiteX139" fmla="*/ 1068997 w 6616265"/>
              <a:gd name="connsiteY139" fmla="*/ 2308480 h 6843715"/>
              <a:gd name="connsiteX140" fmla="*/ 1201250 w 6616265"/>
              <a:gd name="connsiteY140" fmla="*/ 2176227 h 6843715"/>
              <a:gd name="connsiteX141" fmla="*/ 1773490 w 6616265"/>
              <a:gd name="connsiteY141" fmla="*/ 2088481 h 6843715"/>
              <a:gd name="connsiteX142" fmla="*/ 1976166 w 6616265"/>
              <a:gd name="connsiteY142" fmla="*/ 2222936 h 6843715"/>
              <a:gd name="connsiteX143" fmla="*/ 1987399 w 6616265"/>
              <a:gd name="connsiteY143" fmla="*/ 2278426 h 6843715"/>
              <a:gd name="connsiteX144" fmla="*/ 1985740 w 6616265"/>
              <a:gd name="connsiteY144" fmla="*/ 2294891 h 6843715"/>
              <a:gd name="connsiteX145" fmla="*/ 1989817 w 6616265"/>
              <a:gd name="connsiteY145" fmla="*/ 2326586 h 6843715"/>
              <a:gd name="connsiteX146" fmla="*/ 1976166 w 6616265"/>
              <a:gd name="connsiteY146" fmla="*/ 2394018 h 6843715"/>
              <a:gd name="connsiteX147" fmla="*/ 1773490 w 6616265"/>
              <a:gd name="connsiteY147" fmla="*/ 2528464 h 6843715"/>
              <a:gd name="connsiteX148" fmla="*/ 1553498 w 6616265"/>
              <a:gd name="connsiteY148" fmla="*/ 2308473 h 6843715"/>
              <a:gd name="connsiteX149" fmla="*/ 1773490 w 6616265"/>
              <a:gd name="connsiteY149" fmla="*/ 2088481 h 6843715"/>
              <a:gd name="connsiteX150" fmla="*/ 629011 w 6616265"/>
              <a:gd name="connsiteY150" fmla="*/ 1688493 h 6843715"/>
              <a:gd name="connsiteX151" fmla="*/ 676752 w 6616265"/>
              <a:gd name="connsiteY151" fmla="*/ 1736234 h 6843715"/>
              <a:gd name="connsiteX152" fmla="*/ 629011 w 6616265"/>
              <a:gd name="connsiteY152" fmla="*/ 1783975 h 6843715"/>
              <a:gd name="connsiteX153" fmla="*/ 581271 w 6616265"/>
              <a:gd name="connsiteY153" fmla="*/ 1736234 h 6843715"/>
              <a:gd name="connsiteX154" fmla="*/ 629011 w 6616265"/>
              <a:gd name="connsiteY154" fmla="*/ 1688493 h 6843715"/>
              <a:gd name="connsiteX155" fmla="*/ 1201250 w 6616265"/>
              <a:gd name="connsiteY155" fmla="*/ 1639465 h 6843715"/>
              <a:gd name="connsiteX156" fmla="*/ 1298022 w 6616265"/>
              <a:gd name="connsiteY156" fmla="*/ 1736237 h 6843715"/>
              <a:gd name="connsiteX157" fmla="*/ 1201250 w 6616265"/>
              <a:gd name="connsiteY157" fmla="*/ 1833008 h 6843715"/>
              <a:gd name="connsiteX158" fmla="*/ 1104480 w 6616265"/>
              <a:gd name="connsiteY158" fmla="*/ 1736237 h 6843715"/>
              <a:gd name="connsiteX159" fmla="*/ 1201250 w 6616265"/>
              <a:gd name="connsiteY159" fmla="*/ 1639465 h 6843715"/>
              <a:gd name="connsiteX160" fmla="*/ 1741933 w 6616265"/>
              <a:gd name="connsiteY160" fmla="*/ 1572389 h 6843715"/>
              <a:gd name="connsiteX161" fmla="*/ 1937614 w 6616265"/>
              <a:gd name="connsiteY161" fmla="*/ 1704875 h 6843715"/>
              <a:gd name="connsiteX162" fmla="*/ 1805127 w 6616265"/>
              <a:gd name="connsiteY162" fmla="*/ 1900555 h 6843715"/>
              <a:gd name="connsiteX163" fmla="*/ 1609447 w 6616265"/>
              <a:gd name="connsiteY163" fmla="*/ 1768068 h 6843715"/>
              <a:gd name="connsiteX164" fmla="*/ 1741933 w 6616265"/>
              <a:gd name="connsiteY164" fmla="*/ 1572389 h 6843715"/>
              <a:gd name="connsiteX165" fmla="*/ 1189474 w 6616265"/>
              <a:gd name="connsiteY165" fmla="*/ 1102707 h 6843715"/>
              <a:gd name="connsiteX166" fmla="*/ 1262761 w 6616265"/>
              <a:gd name="connsiteY166" fmla="*/ 1152327 h 6843715"/>
              <a:gd name="connsiteX167" fmla="*/ 1213141 w 6616265"/>
              <a:gd name="connsiteY167" fmla="*/ 1225613 h 6843715"/>
              <a:gd name="connsiteX168" fmla="*/ 1139856 w 6616265"/>
              <a:gd name="connsiteY168" fmla="*/ 1175994 h 6843715"/>
              <a:gd name="connsiteX169" fmla="*/ 1189474 w 6616265"/>
              <a:gd name="connsiteY169" fmla="*/ 1102707 h 6843715"/>
              <a:gd name="connsiteX170" fmla="*/ 1773490 w 6616265"/>
              <a:gd name="connsiteY170" fmla="*/ 1043355 h 6843715"/>
              <a:gd name="connsiteX171" fmla="*/ 1894132 w 6616265"/>
              <a:gd name="connsiteY171" fmla="*/ 1163996 h 6843715"/>
              <a:gd name="connsiteX172" fmla="*/ 1773490 w 6616265"/>
              <a:gd name="connsiteY172" fmla="*/ 1284638 h 6843715"/>
              <a:gd name="connsiteX173" fmla="*/ 1652849 w 6616265"/>
              <a:gd name="connsiteY173" fmla="*/ 1163996 h 6843715"/>
              <a:gd name="connsiteX174" fmla="*/ 1773490 w 6616265"/>
              <a:gd name="connsiteY174" fmla="*/ 1043355 h 6843715"/>
              <a:gd name="connsiteX175" fmla="*/ 2346375 w 6616265"/>
              <a:gd name="connsiteY175" fmla="*/ 973034 h 6843715"/>
              <a:gd name="connsiteX176" fmla="*/ 2537336 w 6616265"/>
              <a:gd name="connsiteY176" fmla="*/ 1163996 h 6843715"/>
              <a:gd name="connsiteX177" fmla="*/ 2346375 w 6616265"/>
              <a:gd name="connsiteY177" fmla="*/ 1354957 h 6843715"/>
              <a:gd name="connsiteX178" fmla="*/ 2155413 w 6616265"/>
              <a:gd name="connsiteY178" fmla="*/ 1163996 h 6843715"/>
              <a:gd name="connsiteX179" fmla="*/ 2346375 w 6616265"/>
              <a:gd name="connsiteY179" fmla="*/ 973034 h 6843715"/>
              <a:gd name="connsiteX180" fmla="*/ 1201251 w 6616265"/>
              <a:gd name="connsiteY180" fmla="*/ 554986 h 6843715"/>
              <a:gd name="connsiteX181" fmla="*/ 1238024 w 6616265"/>
              <a:gd name="connsiteY181" fmla="*/ 591758 h 6843715"/>
              <a:gd name="connsiteX182" fmla="*/ 1201251 w 6616265"/>
              <a:gd name="connsiteY182" fmla="*/ 628531 h 6843715"/>
              <a:gd name="connsiteX183" fmla="*/ 1164478 w 6616265"/>
              <a:gd name="connsiteY183" fmla="*/ 591758 h 6843715"/>
              <a:gd name="connsiteX184" fmla="*/ 1201251 w 6616265"/>
              <a:gd name="connsiteY184" fmla="*/ 554986 h 6843715"/>
              <a:gd name="connsiteX185" fmla="*/ 1773490 w 6616265"/>
              <a:gd name="connsiteY185" fmla="*/ 516275 h 6843715"/>
              <a:gd name="connsiteX186" fmla="*/ 1848972 w 6616265"/>
              <a:gd name="connsiteY186" fmla="*/ 591757 h 6843715"/>
              <a:gd name="connsiteX187" fmla="*/ 1773490 w 6616265"/>
              <a:gd name="connsiteY187" fmla="*/ 667238 h 6843715"/>
              <a:gd name="connsiteX188" fmla="*/ 1698009 w 6616265"/>
              <a:gd name="connsiteY188" fmla="*/ 591757 h 6843715"/>
              <a:gd name="connsiteX189" fmla="*/ 1773490 w 6616265"/>
              <a:gd name="connsiteY189" fmla="*/ 516275 h 6843715"/>
              <a:gd name="connsiteX190" fmla="*/ 2346375 w 6616265"/>
              <a:gd name="connsiteY190" fmla="*/ 462084 h 6843715"/>
              <a:gd name="connsiteX191" fmla="*/ 2476048 w 6616265"/>
              <a:gd name="connsiteY191" fmla="*/ 591757 h 6843715"/>
              <a:gd name="connsiteX192" fmla="*/ 2346375 w 6616265"/>
              <a:gd name="connsiteY192" fmla="*/ 721429 h 6843715"/>
              <a:gd name="connsiteX193" fmla="*/ 2216701 w 6616265"/>
              <a:gd name="connsiteY193" fmla="*/ 591757 h 6843715"/>
              <a:gd name="connsiteX194" fmla="*/ 2346375 w 6616265"/>
              <a:gd name="connsiteY194" fmla="*/ 462084 h 6843715"/>
              <a:gd name="connsiteX195" fmla="*/ 2918615 w 6616265"/>
              <a:gd name="connsiteY195" fmla="*/ 395638 h 6843715"/>
              <a:gd name="connsiteX196" fmla="*/ 3114093 w 6616265"/>
              <a:gd name="connsiteY196" fmla="*/ 591115 h 6843715"/>
              <a:gd name="connsiteX197" fmla="*/ 2918615 w 6616265"/>
              <a:gd name="connsiteY197" fmla="*/ 786593 h 6843715"/>
              <a:gd name="connsiteX198" fmla="*/ 2723138 w 6616265"/>
              <a:gd name="connsiteY198" fmla="*/ 591115 h 6843715"/>
              <a:gd name="connsiteX199" fmla="*/ 2918615 w 6616265"/>
              <a:gd name="connsiteY199" fmla="*/ 395638 h 6843715"/>
              <a:gd name="connsiteX200" fmla="*/ 4310583 w 6616265"/>
              <a:gd name="connsiteY200" fmla="*/ 0 h 6843715"/>
              <a:gd name="connsiteX201" fmla="*/ 6616265 w 6616265"/>
              <a:gd name="connsiteY201" fmla="*/ 0 h 6843715"/>
              <a:gd name="connsiteX202" fmla="*/ 6616265 w 6616265"/>
              <a:gd name="connsiteY202" fmla="*/ 6843715 h 6843715"/>
              <a:gd name="connsiteX203" fmla="*/ 1487341 w 6616265"/>
              <a:gd name="connsiteY203" fmla="*/ 6843715 h 6843715"/>
              <a:gd name="connsiteX204" fmla="*/ 1496539 w 6616265"/>
              <a:gd name="connsiteY204" fmla="*/ 6801672 h 6843715"/>
              <a:gd name="connsiteX205" fmla="*/ 1727039 w 6616265"/>
              <a:gd name="connsiteY205" fmla="*/ 6632808 h 6843715"/>
              <a:gd name="connsiteX206" fmla="*/ 1965741 w 6616265"/>
              <a:gd name="connsiteY206" fmla="*/ 6834092 h 6843715"/>
              <a:gd name="connsiteX207" fmla="*/ 2090255 w 6616265"/>
              <a:gd name="connsiteY207" fmla="*/ 6611519 h 6843715"/>
              <a:gd name="connsiteX208" fmla="*/ 1960580 w 6616265"/>
              <a:gd name="connsiteY208" fmla="*/ 6459266 h 6843715"/>
              <a:gd name="connsiteX209" fmla="*/ 1727039 w 6616265"/>
              <a:gd name="connsiteY209" fmla="*/ 6583778 h 6843715"/>
              <a:gd name="connsiteX210" fmla="*/ 1445758 w 6616265"/>
              <a:gd name="connsiteY210" fmla="*/ 6302497 h 6843715"/>
              <a:gd name="connsiteX211" fmla="*/ 1658654 w 6616265"/>
              <a:gd name="connsiteY211" fmla="*/ 6029603 h 6843715"/>
              <a:gd name="connsiteX212" fmla="*/ 1419307 w 6616265"/>
              <a:gd name="connsiteY212" fmla="*/ 5729612 h 6843715"/>
              <a:gd name="connsiteX213" fmla="*/ 1598012 w 6616265"/>
              <a:gd name="connsiteY213" fmla="*/ 5450912 h 6843715"/>
              <a:gd name="connsiteX214" fmla="*/ 1420467 w 6616265"/>
              <a:gd name="connsiteY214" fmla="*/ 5251503 h 6843715"/>
              <a:gd name="connsiteX215" fmla="*/ 1412511 w 6616265"/>
              <a:gd name="connsiteY215" fmla="*/ 5198249 h 6843715"/>
              <a:gd name="connsiteX216" fmla="*/ 1418018 w 6616265"/>
              <a:gd name="connsiteY216" fmla="*/ 5170959 h 6843715"/>
              <a:gd name="connsiteX217" fmla="*/ 1410074 w 6616265"/>
              <a:gd name="connsiteY217" fmla="*/ 5131470 h 6843715"/>
              <a:gd name="connsiteX218" fmla="*/ 1419106 w 6616265"/>
              <a:gd name="connsiteY218" fmla="*/ 5067729 h 6843715"/>
              <a:gd name="connsiteX219" fmla="*/ 1580592 w 6616265"/>
              <a:gd name="connsiteY219" fmla="*/ 4872221 h 6843715"/>
              <a:gd name="connsiteX220" fmla="*/ 1417291 w 6616265"/>
              <a:gd name="connsiteY220" fmla="*/ 4675353 h 6843715"/>
              <a:gd name="connsiteX221" fmla="*/ 1411993 w 6616265"/>
              <a:gd name="connsiteY221" fmla="*/ 4638076 h 6843715"/>
              <a:gd name="connsiteX222" fmla="*/ 1419954 w 6616265"/>
              <a:gd name="connsiteY222" fmla="*/ 4598720 h 6843715"/>
              <a:gd name="connsiteX223" fmla="*/ 1409763 w 6616265"/>
              <a:gd name="connsiteY223" fmla="*/ 4548338 h 6843715"/>
              <a:gd name="connsiteX224" fmla="*/ 1417623 w 6616265"/>
              <a:gd name="connsiteY224" fmla="*/ 4493696 h 6843715"/>
              <a:gd name="connsiteX225" fmla="*/ 1584463 w 6616265"/>
              <a:gd name="connsiteY225" fmla="*/ 4295466 h 6843715"/>
              <a:gd name="connsiteX226" fmla="*/ 1422978 w 6616265"/>
              <a:gd name="connsiteY226" fmla="*/ 4101409 h 6843715"/>
              <a:gd name="connsiteX227" fmla="*/ 1412759 w 6616265"/>
              <a:gd name="connsiteY227" fmla="*/ 4029675 h 6843715"/>
              <a:gd name="connsiteX228" fmla="*/ 1412855 w 6616265"/>
              <a:gd name="connsiteY228" fmla="*/ 4028809 h 6843715"/>
              <a:gd name="connsiteX229" fmla="*/ 1410785 w 6616265"/>
              <a:gd name="connsiteY229" fmla="*/ 4005809 h 6843715"/>
              <a:gd name="connsiteX230" fmla="*/ 1414258 w 6616265"/>
              <a:gd name="connsiteY230" fmla="*/ 3961788 h 6843715"/>
              <a:gd name="connsiteX231" fmla="*/ 1619945 w 6616265"/>
              <a:gd name="connsiteY231" fmla="*/ 3714195 h 6843715"/>
              <a:gd name="connsiteX232" fmla="*/ 1432210 w 6616265"/>
              <a:gd name="connsiteY232" fmla="*/ 3440010 h 6843715"/>
              <a:gd name="connsiteX233" fmla="*/ 1727039 w 6616265"/>
              <a:gd name="connsiteY233" fmla="*/ 3145181 h 6843715"/>
              <a:gd name="connsiteX234" fmla="*/ 1959290 w 6616265"/>
              <a:gd name="connsiteY234" fmla="*/ 3259371 h 6843715"/>
              <a:gd name="connsiteX235" fmla="*/ 2066382 w 6616265"/>
              <a:gd name="connsiteY235" fmla="*/ 3133569 h 6843715"/>
              <a:gd name="connsiteX236" fmla="*/ 1963805 w 6616265"/>
              <a:gd name="connsiteY236" fmla="*/ 2980026 h 6843715"/>
              <a:gd name="connsiteX237" fmla="*/ 1726393 w 6616265"/>
              <a:gd name="connsiteY237" fmla="*/ 3129697 h 6843715"/>
              <a:gd name="connsiteX238" fmla="*/ 1463822 w 6616265"/>
              <a:gd name="connsiteY238" fmla="*/ 2867126 h 6843715"/>
              <a:gd name="connsiteX239" fmla="*/ 1726393 w 6616265"/>
              <a:gd name="connsiteY239" fmla="*/ 2604554 h 6843715"/>
              <a:gd name="connsiteX240" fmla="*/ 1963805 w 6616265"/>
              <a:gd name="connsiteY240" fmla="*/ 2754227 h 6843715"/>
              <a:gd name="connsiteX241" fmla="*/ 2128316 w 6616265"/>
              <a:gd name="connsiteY241" fmla="*/ 2557458 h 6843715"/>
              <a:gd name="connsiteX242" fmla="*/ 1995952 w 6616265"/>
              <a:gd name="connsiteY242" fmla="*/ 2374289 h 6843715"/>
              <a:gd name="connsiteX243" fmla="*/ 1989817 w 6616265"/>
              <a:gd name="connsiteY243" fmla="*/ 2326586 h 6843715"/>
              <a:gd name="connsiteX244" fmla="*/ 1993483 w 6616265"/>
              <a:gd name="connsiteY244" fmla="*/ 2308473 h 6843715"/>
              <a:gd name="connsiteX245" fmla="*/ 1987399 w 6616265"/>
              <a:gd name="connsiteY245" fmla="*/ 2278426 h 6843715"/>
              <a:gd name="connsiteX246" fmla="*/ 1992121 w 6616265"/>
              <a:gd name="connsiteY246" fmla="*/ 2231592 h 6843715"/>
              <a:gd name="connsiteX247" fmla="*/ 2299279 w 6616265"/>
              <a:gd name="connsiteY247" fmla="*/ 1981352 h 6843715"/>
              <a:gd name="connsiteX248" fmla="*/ 2538627 w 6616265"/>
              <a:gd name="connsiteY248" fmla="*/ 2092962 h 6843715"/>
              <a:gd name="connsiteX249" fmla="*/ 2647655 w 6616265"/>
              <a:gd name="connsiteY249" fmla="*/ 1976190 h 6843715"/>
              <a:gd name="connsiteX250" fmla="*/ 2542497 w 6616265"/>
              <a:gd name="connsiteY250" fmla="*/ 1803293 h 6843715"/>
              <a:gd name="connsiteX251" fmla="*/ 2298633 w 6616265"/>
              <a:gd name="connsiteY251" fmla="*/ 1979417 h 6843715"/>
              <a:gd name="connsiteX252" fmla="*/ 2041223 w 6616265"/>
              <a:gd name="connsiteY252" fmla="*/ 1722003 h 6843715"/>
              <a:gd name="connsiteX253" fmla="*/ 2298633 w 6616265"/>
              <a:gd name="connsiteY253" fmla="*/ 1464593 h 6843715"/>
              <a:gd name="connsiteX254" fmla="*/ 2542497 w 6616265"/>
              <a:gd name="connsiteY254" fmla="*/ 1640718 h 6843715"/>
              <a:gd name="connsiteX255" fmla="*/ 2760555 w 6616265"/>
              <a:gd name="connsiteY255" fmla="*/ 1402016 h 6843715"/>
              <a:gd name="connsiteX256" fmla="*/ 2595400 w 6616265"/>
              <a:gd name="connsiteY256" fmla="*/ 1149118 h 6843715"/>
              <a:gd name="connsiteX257" fmla="*/ 2871517 w 6616265"/>
              <a:gd name="connsiteY257" fmla="*/ 872997 h 6843715"/>
              <a:gd name="connsiteX258" fmla="*/ 3123123 w 6616265"/>
              <a:gd name="connsiteY258" fmla="*/ 1035574 h 6843715"/>
              <a:gd name="connsiteX259" fmla="*/ 3348277 w 6616265"/>
              <a:gd name="connsiteY259" fmla="*/ 822035 h 6843715"/>
              <a:gd name="connsiteX260" fmla="*/ 3179895 w 6616265"/>
              <a:gd name="connsiteY260" fmla="*/ 576235 h 6843715"/>
              <a:gd name="connsiteX261" fmla="*/ 3443757 w 6616265"/>
              <a:gd name="connsiteY261" fmla="*/ 312373 h 6843715"/>
              <a:gd name="connsiteX262" fmla="*/ 3699877 w 6616265"/>
              <a:gd name="connsiteY262" fmla="*/ 514303 h 6843715"/>
              <a:gd name="connsiteX263" fmla="*/ 4015997 w 6616265"/>
              <a:gd name="connsiteY263" fmla="*/ 254311 h 6843715"/>
              <a:gd name="connsiteX264" fmla="*/ 4275343 w 6616265"/>
              <a:gd name="connsiteY264" fmla="*/ 385274 h 6843715"/>
              <a:gd name="connsiteX265" fmla="*/ 4441789 w 6616265"/>
              <a:gd name="connsiteY265" fmla="*/ 240118 h 6843715"/>
              <a:gd name="connsiteX266" fmla="*/ 4310179 w 6616265"/>
              <a:gd name="connsiteY266" fmla="*/ 3997 h 6843715"/>
              <a:gd name="connsiteX267" fmla="*/ 3836709 w 6616265"/>
              <a:gd name="connsiteY267" fmla="*/ 0 h 6843715"/>
              <a:gd name="connsiteX268" fmla="*/ 4290765 w 6616265"/>
              <a:gd name="connsiteY268" fmla="*/ 0 h 6843715"/>
              <a:gd name="connsiteX269" fmla="*/ 4294697 w 6616265"/>
              <a:gd name="connsiteY269" fmla="*/ 19521 h 6843715"/>
              <a:gd name="connsiteX270" fmla="*/ 4063739 w 6616265"/>
              <a:gd name="connsiteY270" fmla="*/ 250481 h 6843715"/>
              <a:gd name="connsiteX271" fmla="*/ 3832777 w 6616265"/>
              <a:gd name="connsiteY271" fmla="*/ 19521 h 6843715"/>
              <a:gd name="connsiteX272" fmla="*/ 3315961 w 6616265"/>
              <a:gd name="connsiteY272" fmla="*/ 0 h 6843715"/>
              <a:gd name="connsiteX273" fmla="*/ 3665747 w 6616265"/>
              <a:gd name="connsiteY273" fmla="*/ 0 h 6843715"/>
              <a:gd name="connsiteX274" fmla="*/ 3669557 w 6616265"/>
              <a:gd name="connsiteY274" fmla="*/ 18877 h 6843715"/>
              <a:gd name="connsiteX275" fmla="*/ 3490853 w 6616265"/>
              <a:gd name="connsiteY275" fmla="*/ 197580 h 6843715"/>
              <a:gd name="connsiteX276" fmla="*/ 3312149 w 6616265"/>
              <a:gd name="connsiteY276" fmla="*/ 18877 h 6843715"/>
              <a:gd name="connsiteX277" fmla="*/ 2797407 w 6616265"/>
              <a:gd name="connsiteY277" fmla="*/ 0 h 6843715"/>
              <a:gd name="connsiteX278" fmla="*/ 3039823 w 6616265"/>
              <a:gd name="connsiteY278" fmla="*/ 0 h 6843715"/>
              <a:gd name="connsiteX279" fmla="*/ 3043771 w 6616265"/>
              <a:gd name="connsiteY279" fmla="*/ 19521 h 6843715"/>
              <a:gd name="connsiteX280" fmla="*/ 2918615 w 6616265"/>
              <a:gd name="connsiteY280" fmla="*/ 144678 h 6843715"/>
              <a:gd name="connsiteX281" fmla="*/ 2793457 w 6616265"/>
              <a:gd name="connsiteY281" fmla="*/ 19521 h 6843715"/>
              <a:gd name="connsiteX282" fmla="*/ 2274893 w 6616265"/>
              <a:gd name="connsiteY282" fmla="*/ 0 h 6843715"/>
              <a:gd name="connsiteX283" fmla="*/ 2417855 w 6616265"/>
              <a:gd name="connsiteY283" fmla="*/ 0 h 6843715"/>
              <a:gd name="connsiteX284" fmla="*/ 2421856 w 6616265"/>
              <a:gd name="connsiteY284" fmla="*/ 19518 h 6843715"/>
              <a:gd name="connsiteX285" fmla="*/ 2346375 w 6616265"/>
              <a:gd name="connsiteY285" fmla="*/ 94999 h 6843715"/>
              <a:gd name="connsiteX286" fmla="*/ 2270893 w 6616265"/>
              <a:gd name="connsiteY286" fmla="*/ 19518 h 6843715"/>
              <a:gd name="connsiteX287" fmla="*/ 1740884 w 6616265"/>
              <a:gd name="connsiteY287" fmla="*/ 0 h 6843715"/>
              <a:gd name="connsiteX288" fmla="*/ 1806098 w 6616265"/>
              <a:gd name="connsiteY288" fmla="*/ 0 h 6843715"/>
              <a:gd name="connsiteX289" fmla="*/ 1814136 w 6616265"/>
              <a:gd name="connsiteY289" fmla="*/ 19519 h 6843715"/>
              <a:gd name="connsiteX290" fmla="*/ 1773490 w 6616265"/>
              <a:gd name="connsiteY290" fmla="*/ 60163 h 6843715"/>
              <a:gd name="connsiteX291" fmla="*/ 1732847 w 6616265"/>
              <a:gd name="connsiteY291" fmla="*/ 19519 h 68437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Lst>
            <a:rect l="l" t="t" r="r" b="b"/>
            <a:pathLst>
              <a:path w="6616265" h="6843715">
                <a:moveTo>
                  <a:pt x="629011" y="6807681"/>
                </a:moveTo>
                <a:cubicBezTo>
                  <a:pt x="645785" y="6807681"/>
                  <a:pt x="661430" y="6813003"/>
                  <a:pt x="674414" y="6821955"/>
                </a:cubicBezTo>
                <a:lnTo>
                  <a:pt x="692183" y="6843715"/>
                </a:lnTo>
                <a:lnTo>
                  <a:pt x="566186" y="6843715"/>
                </a:lnTo>
                <a:lnTo>
                  <a:pt x="583691" y="6821713"/>
                </a:lnTo>
                <a:cubicBezTo>
                  <a:pt x="596593" y="6812842"/>
                  <a:pt x="612238" y="6807681"/>
                  <a:pt x="629011" y="6807681"/>
                </a:cubicBezTo>
                <a:close/>
                <a:moveTo>
                  <a:pt x="1201250" y="6737360"/>
                </a:moveTo>
                <a:cubicBezTo>
                  <a:pt x="1255926" y="6737360"/>
                  <a:pt x="1304070" y="6766754"/>
                  <a:pt x="1330440" y="6810301"/>
                </a:cubicBezTo>
                <a:lnTo>
                  <a:pt x="1343433" y="6843715"/>
                </a:lnTo>
                <a:lnTo>
                  <a:pt x="1059118" y="6843715"/>
                </a:lnTo>
                <a:lnTo>
                  <a:pt x="1072333" y="6810029"/>
                </a:lnTo>
                <a:cubicBezTo>
                  <a:pt x="1098794" y="6766391"/>
                  <a:pt x="1146575" y="6737360"/>
                  <a:pt x="1201250" y="6737360"/>
                </a:cubicBezTo>
                <a:close/>
                <a:moveTo>
                  <a:pt x="56772" y="6273505"/>
                </a:moveTo>
                <a:cubicBezTo>
                  <a:pt x="79998" y="6273505"/>
                  <a:pt x="99350" y="6292215"/>
                  <a:pt x="99350" y="6316084"/>
                </a:cubicBezTo>
                <a:cubicBezTo>
                  <a:pt x="99350" y="6339309"/>
                  <a:pt x="80642" y="6358663"/>
                  <a:pt x="56772" y="6358663"/>
                </a:cubicBezTo>
                <a:cubicBezTo>
                  <a:pt x="33547" y="6358663"/>
                  <a:pt x="14192" y="6339955"/>
                  <a:pt x="14192" y="6316084"/>
                </a:cubicBezTo>
                <a:cubicBezTo>
                  <a:pt x="14192" y="6292860"/>
                  <a:pt x="32902" y="6273505"/>
                  <a:pt x="56772" y="6273505"/>
                </a:cubicBezTo>
                <a:close/>
                <a:moveTo>
                  <a:pt x="629011" y="6216087"/>
                </a:moveTo>
                <a:cubicBezTo>
                  <a:pt x="684494" y="6216087"/>
                  <a:pt x="729008" y="6260601"/>
                  <a:pt x="729008" y="6316083"/>
                </a:cubicBezTo>
                <a:cubicBezTo>
                  <a:pt x="729008" y="6371565"/>
                  <a:pt x="684494" y="6416081"/>
                  <a:pt x="629011" y="6416081"/>
                </a:cubicBezTo>
                <a:cubicBezTo>
                  <a:pt x="573530" y="6416081"/>
                  <a:pt x="529015" y="6371565"/>
                  <a:pt x="529015" y="6316083"/>
                </a:cubicBezTo>
                <a:cubicBezTo>
                  <a:pt x="529015" y="6260601"/>
                  <a:pt x="573530" y="6216087"/>
                  <a:pt x="629011" y="6216087"/>
                </a:cubicBezTo>
                <a:close/>
                <a:moveTo>
                  <a:pt x="1201251" y="6134800"/>
                </a:moveTo>
                <a:cubicBezTo>
                  <a:pt x="1301248" y="6134800"/>
                  <a:pt x="1382536" y="6216087"/>
                  <a:pt x="1382536" y="6316084"/>
                </a:cubicBezTo>
                <a:cubicBezTo>
                  <a:pt x="1382536" y="6416081"/>
                  <a:pt x="1301248" y="6497368"/>
                  <a:pt x="1201251" y="6497368"/>
                </a:cubicBezTo>
                <a:cubicBezTo>
                  <a:pt x="1101255" y="6497368"/>
                  <a:pt x="1019967" y="6416081"/>
                  <a:pt x="1019967" y="6316084"/>
                </a:cubicBezTo>
                <a:cubicBezTo>
                  <a:pt x="1019967" y="6216087"/>
                  <a:pt x="1101255" y="6134800"/>
                  <a:pt x="1201251" y="6134800"/>
                </a:cubicBezTo>
                <a:close/>
                <a:moveTo>
                  <a:pt x="56773" y="5692879"/>
                </a:moveTo>
                <a:cubicBezTo>
                  <a:pt x="84514" y="5692879"/>
                  <a:pt x="107093" y="5715458"/>
                  <a:pt x="107738" y="5743845"/>
                </a:cubicBezTo>
                <a:cubicBezTo>
                  <a:pt x="107738" y="5772232"/>
                  <a:pt x="85159" y="5794811"/>
                  <a:pt x="56773" y="5794811"/>
                </a:cubicBezTo>
                <a:cubicBezTo>
                  <a:pt x="28385" y="5794811"/>
                  <a:pt x="5806" y="5772232"/>
                  <a:pt x="5806" y="5743845"/>
                </a:cubicBezTo>
                <a:cubicBezTo>
                  <a:pt x="5806" y="5715458"/>
                  <a:pt x="28385" y="5692879"/>
                  <a:pt x="56773" y="5692879"/>
                </a:cubicBezTo>
                <a:close/>
                <a:moveTo>
                  <a:pt x="629011" y="5627719"/>
                </a:moveTo>
                <a:cubicBezTo>
                  <a:pt x="692881" y="5627719"/>
                  <a:pt x="744491" y="5679331"/>
                  <a:pt x="744491" y="5743199"/>
                </a:cubicBezTo>
                <a:cubicBezTo>
                  <a:pt x="744491" y="5807068"/>
                  <a:pt x="692881" y="5858679"/>
                  <a:pt x="629011" y="5858679"/>
                </a:cubicBezTo>
                <a:cubicBezTo>
                  <a:pt x="565143" y="5858679"/>
                  <a:pt x="513532" y="5807068"/>
                  <a:pt x="513532" y="5743199"/>
                </a:cubicBezTo>
                <a:cubicBezTo>
                  <a:pt x="513532" y="5679331"/>
                  <a:pt x="565143" y="5627719"/>
                  <a:pt x="629011" y="5627719"/>
                </a:cubicBezTo>
                <a:close/>
                <a:moveTo>
                  <a:pt x="1201250" y="5539980"/>
                </a:moveTo>
                <a:cubicBezTo>
                  <a:pt x="1313506" y="5539980"/>
                  <a:pt x="1404470" y="5630945"/>
                  <a:pt x="1404470" y="5743199"/>
                </a:cubicBezTo>
                <a:cubicBezTo>
                  <a:pt x="1404470" y="5855453"/>
                  <a:pt x="1313506" y="5946419"/>
                  <a:pt x="1201250" y="5946419"/>
                </a:cubicBezTo>
                <a:cubicBezTo>
                  <a:pt x="1088996" y="5946419"/>
                  <a:pt x="998031" y="5855453"/>
                  <a:pt x="998031" y="5743199"/>
                </a:cubicBezTo>
                <a:cubicBezTo>
                  <a:pt x="998031" y="5630945"/>
                  <a:pt x="1088996" y="5539980"/>
                  <a:pt x="1201250" y="5539980"/>
                </a:cubicBezTo>
                <a:close/>
                <a:moveTo>
                  <a:pt x="56772" y="5114188"/>
                </a:moveTo>
                <a:cubicBezTo>
                  <a:pt x="87739" y="5114188"/>
                  <a:pt x="113543" y="5139348"/>
                  <a:pt x="113543" y="5170960"/>
                </a:cubicBezTo>
                <a:cubicBezTo>
                  <a:pt x="113543" y="5201927"/>
                  <a:pt x="88383" y="5227732"/>
                  <a:pt x="56772" y="5227732"/>
                </a:cubicBezTo>
                <a:cubicBezTo>
                  <a:pt x="25805" y="5227732"/>
                  <a:pt x="0" y="5202572"/>
                  <a:pt x="0" y="5170960"/>
                </a:cubicBezTo>
                <a:cubicBezTo>
                  <a:pt x="0" y="5139993"/>
                  <a:pt x="25160" y="5114188"/>
                  <a:pt x="56772" y="5114188"/>
                </a:cubicBezTo>
                <a:close/>
                <a:moveTo>
                  <a:pt x="629011" y="5045803"/>
                </a:moveTo>
                <a:cubicBezTo>
                  <a:pt x="698041" y="5045803"/>
                  <a:pt x="754168" y="5101931"/>
                  <a:pt x="754168" y="5170960"/>
                </a:cubicBezTo>
                <a:cubicBezTo>
                  <a:pt x="754168" y="5239990"/>
                  <a:pt x="698041" y="5296117"/>
                  <a:pt x="629011" y="5296117"/>
                </a:cubicBezTo>
                <a:cubicBezTo>
                  <a:pt x="559981" y="5296117"/>
                  <a:pt x="503854" y="5239990"/>
                  <a:pt x="503854" y="5170960"/>
                </a:cubicBezTo>
                <a:cubicBezTo>
                  <a:pt x="503854" y="5101931"/>
                  <a:pt x="559981" y="5045803"/>
                  <a:pt x="629011" y="5045803"/>
                </a:cubicBezTo>
                <a:close/>
                <a:moveTo>
                  <a:pt x="1201250" y="4954192"/>
                </a:moveTo>
                <a:cubicBezTo>
                  <a:pt x="1291247" y="4954192"/>
                  <a:pt x="1368181" y="5008627"/>
                  <a:pt x="1401022" y="5086466"/>
                </a:cubicBezTo>
                <a:lnTo>
                  <a:pt x="1410074" y="5131470"/>
                </a:lnTo>
                <a:lnTo>
                  <a:pt x="1406404" y="5157374"/>
                </a:lnTo>
                <a:lnTo>
                  <a:pt x="1412511" y="5198249"/>
                </a:lnTo>
                <a:lnTo>
                  <a:pt x="1401022" y="5255180"/>
                </a:lnTo>
                <a:cubicBezTo>
                  <a:pt x="1368181" y="5332931"/>
                  <a:pt x="1291247" y="5387727"/>
                  <a:pt x="1201250" y="5387727"/>
                </a:cubicBezTo>
                <a:cubicBezTo>
                  <a:pt x="1081899" y="5387727"/>
                  <a:pt x="984484" y="5290955"/>
                  <a:pt x="984484" y="5170959"/>
                </a:cubicBezTo>
                <a:cubicBezTo>
                  <a:pt x="984484" y="5051608"/>
                  <a:pt x="1081254" y="4954192"/>
                  <a:pt x="1201250" y="4954192"/>
                </a:cubicBezTo>
                <a:close/>
                <a:moveTo>
                  <a:pt x="56772" y="4541948"/>
                </a:moveTo>
                <a:cubicBezTo>
                  <a:pt x="87739" y="4541948"/>
                  <a:pt x="113543" y="4567108"/>
                  <a:pt x="113543" y="4598720"/>
                </a:cubicBezTo>
                <a:cubicBezTo>
                  <a:pt x="113543" y="4629687"/>
                  <a:pt x="88383" y="4655492"/>
                  <a:pt x="56772" y="4655492"/>
                </a:cubicBezTo>
                <a:cubicBezTo>
                  <a:pt x="25805" y="4655492"/>
                  <a:pt x="0" y="4630332"/>
                  <a:pt x="0" y="4598720"/>
                </a:cubicBezTo>
                <a:cubicBezTo>
                  <a:pt x="0" y="4567753"/>
                  <a:pt x="25160" y="4541948"/>
                  <a:pt x="56772" y="4541948"/>
                </a:cubicBezTo>
                <a:close/>
                <a:moveTo>
                  <a:pt x="629011" y="4471628"/>
                </a:moveTo>
                <a:cubicBezTo>
                  <a:pt x="698687" y="4471628"/>
                  <a:pt x="755461" y="4528400"/>
                  <a:pt x="756105" y="4598720"/>
                </a:cubicBezTo>
                <a:cubicBezTo>
                  <a:pt x="756105" y="4669042"/>
                  <a:pt x="699333" y="4725814"/>
                  <a:pt x="629011" y="4725814"/>
                </a:cubicBezTo>
                <a:cubicBezTo>
                  <a:pt x="558691" y="4725814"/>
                  <a:pt x="501919" y="4669042"/>
                  <a:pt x="501919" y="4598720"/>
                </a:cubicBezTo>
                <a:cubicBezTo>
                  <a:pt x="501919" y="4528400"/>
                  <a:pt x="558691" y="4471628"/>
                  <a:pt x="629011" y="4471628"/>
                </a:cubicBezTo>
                <a:close/>
                <a:moveTo>
                  <a:pt x="1201250" y="4380018"/>
                </a:moveTo>
                <a:cubicBezTo>
                  <a:pt x="1291731" y="4380018"/>
                  <a:pt x="1369511" y="4435178"/>
                  <a:pt x="1402746" y="4513653"/>
                </a:cubicBezTo>
                <a:lnTo>
                  <a:pt x="1409763" y="4548338"/>
                </a:lnTo>
                <a:lnTo>
                  <a:pt x="1404469" y="4585134"/>
                </a:lnTo>
                <a:lnTo>
                  <a:pt x="1411993" y="4638076"/>
                </a:lnTo>
                <a:lnTo>
                  <a:pt x="1402746" y="4683789"/>
                </a:lnTo>
                <a:cubicBezTo>
                  <a:pt x="1369511" y="4762264"/>
                  <a:pt x="1291731" y="4817424"/>
                  <a:pt x="1201250" y="4817424"/>
                </a:cubicBezTo>
                <a:cubicBezTo>
                  <a:pt x="1080609" y="4817424"/>
                  <a:pt x="982548" y="4719362"/>
                  <a:pt x="982548" y="4598720"/>
                </a:cubicBezTo>
                <a:cubicBezTo>
                  <a:pt x="982548" y="4478079"/>
                  <a:pt x="1080609" y="4380018"/>
                  <a:pt x="1201250" y="4380018"/>
                </a:cubicBezTo>
                <a:close/>
                <a:moveTo>
                  <a:pt x="56772" y="3971645"/>
                </a:moveTo>
                <a:cubicBezTo>
                  <a:pt x="87093" y="3971645"/>
                  <a:pt x="111609" y="3996160"/>
                  <a:pt x="111609" y="4026482"/>
                </a:cubicBezTo>
                <a:cubicBezTo>
                  <a:pt x="111609" y="4056803"/>
                  <a:pt x="87093" y="4081319"/>
                  <a:pt x="56772" y="4081319"/>
                </a:cubicBezTo>
                <a:cubicBezTo>
                  <a:pt x="26450" y="4081319"/>
                  <a:pt x="1935" y="4056803"/>
                  <a:pt x="1935" y="4026482"/>
                </a:cubicBezTo>
                <a:cubicBezTo>
                  <a:pt x="1935" y="3996160"/>
                  <a:pt x="26450" y="3971645"/>
                  <a:pt x="56772" y="3971645"/>
                </a:cubicBezTo>
                <a:close/>
                <a:moveTo>
                  <a:pt x="629011" y="3905840"/>
                </a:moveTo>
                <a:cubicBezTo>
                  <a:pt x="695461" y="3905840"/>
                  <a:pt x="749008" y="3959386"/>
                  <a:pt x="749008" y="4025836"/>
                </a:cubicBezTo>
                <a:cubicBezTo>
                  <a:pt x="749008" y="4092286"/>
                  <a:pt x="695461" y="4145833"/>
                  <a:pt x="629011" y="4145833"/>
                </a:cubicBezTo>
                <a:cubicBezTo>
                  <a:pt x="562561" y="4145833"/>
                  <a:pt x="509015" y="4092286"/>
                  <a:pt x="509015" y="4025836"/>
                </a:cubicBezTo>
                <a:cubicBezTo>
                  <a:pt x="509015" y="3959386"/>
                  <a:pt x="562561" y="3905840"/>
                  <a:pt x="629011" y="3905840"/>
                </a:cubicBezTo>
                <a:close/>
                <a:moveTo>
                  <a:pt x="1203892" y="3814493"/>
                </a:moveTo>
                <a:cubicBezTo>
                  <a:pt x="1302314" y="3815635"/>
                  <a:pt x="1389676" y="3885701"/>
                  <a:pt x="1409012" y="3986119"/>
                </a:cubicBezTo>
                <a:lnTo>
                  <a:pt x="1410785" y="4005809"/>
                </a:lnTo>
                <a:lnTo>
                  <a:pt x="1410276" y="4012250"/>
                </a:lnTo>
                <a:lnTo>
                  <a:pt x="1412759" y="4029675"/>
                </a:lnTo>
                <a:lnTo>
                  <a:pt x="1408258" y="4070146"/>
                </a:lnTo>
                <a:cubicBezTo>
                  <a:pt x="1391074" y="4150802"/>
                  <a:pt x="1327302" y="4217356"/>
                  <a:pt x="1241229" y="4233930"/>
                </a:cubicBezTo>
                <a:cubicBezTo>
                  <a:pt x="1126467" y="4256030"/>
                  <a:pt x="1015518" y="4180911"/>
                  <a:pt x="993420" y="4066148"/>
                </a:cubicBezTo>
                <a:cubicBezTo>
                  <a:pt x="971319" y="3951384"/>
                  <a:pt x="1046437" y="3840435"/>
                  <a:pt x="1161200" y="3818336"/>
                </a:cubicBezTo>
                <a:cubicBezTo>
                  <a:pt x="1175546" y="3815574"/>
                  <a:pt x="1189832" y="3814330"/>
                  <a:pt x="1203892" y="3814493"/>
                </a:cubicBezTo>
                <a:close/>
                <a:moveTo>
                  <a:pt x="56773" y="3404567"/>
                </a:moveTo>
                <a:cubicBezTo>
                  <a:pt x="83868" y="3404567"/>
                  <a:pt x="105802" y="3426502"/>
                  <a:pt x="105802" y="3453598"/>
                </a:cubicBezTo>
                <a:cubicBezTo>
                  <a:pt x="105802" y="3480693"/>
                  <a:pt x="83868" y="3502627"/>
                  <a:pt x="56773" y="3502627"/>
                </a:cubicBezTo>
                <a:cubicBezTo>
                  <a:pt x="29677" y="3502627"/>
                  <a:pt x="7742" y="3480693"/>
                  <a:pt x="7742" y="3453598"/>
                </a:cubicBezTo>
                <a:cubicBezTo>
                  <a:pt x="7742" y="3426502"/>
                  <a:pt x="29677" y="3404567"/>
                  <a:pt x="56773" y="3404567"/>
                </a:cubicBezTo>
                <a:close/>
                <a:moveTo>
                  <a:pt x="629011" y="3346504"/>
                </a:moveTo>
                <a:cubicBezTo>
                  <a:pt x="688364" y="3346504"/>
                  <a:pt x="736105" y="3394245"/>
                  <a:pt x="736105" y="3453598"/>
                </a:cubicBezTo>
                <a:cubicBezTo>
                  <a:pt x="736105" y="3512951"/>
                  <a:pt x="688364" y="3560691"/>
                  <a:pt x="629011" y="3560691"/>
                </a:cubicBezTo>
                <a:cubicBezTo>
                  <a:pt x="569658" y="3560691"/>
                  <a:pt x="521918" y="3512951"/>
                  <a:pt x="521918" y="3453598"/>
                </a:cubicBezTo>
                <a:cubicBezTo>
                  <a:pt x="521918" y="3394245"/>
                  <a:pt x="569658" y="3346504"/>
                  <a:pt x="629011" y="3346504"/>
                </a:cubicBezTo>
                <a:close/>
                <a:moveTo>
                  <a:pt x="1202686" y="3262070"/>
                </a:moveTo>
                <a:cubicBezTo>
                  <a:pt x="1277355" y="3262626"/>
                  <a:pt x="1347997" y="3307073"/>
                  <a:pt x="1378371" y="3380400"/>
                </a:cubicBezTo>
                <a:cubicBezTo>
                  <a:pt x="1418869" y="3478168"/>
                  <a:pt x="1372441" y="3590255"/>
                  <a:pt x="1274673" y="3630753"/>
                </a:cubicBezTo>
                <a:cubicBezTo>
                  <a:pt x="1176904" y="3671251"/>
                  <a:pt x="1064816" y="3624824"/>
                  <a:pt x="1024320" y="3527055"/>
                </a:cubicBezTo>
                <a:cubicBezTo>
                  <a:pt x="983821" y="3429287"/>
                  <a:pt x="1030249" y="3317199"/>
                  <a:pt x="1128017" y="3276702"/>
                </a:cubicBezTo>
                <a:cubicBezTo>
                  <a:pt x="1152459" y="3266578"/>
                  <a:pt x="1177796" y="3261886"/>
                  <a:pt x="1202686" y="3262070"/>
                </a:cubicBezTo>
                <a:close/>
                <a:moveTo>
                  <a:pt x="56772" y="2842650"/>
                </a:moveTo>
                <a:cubicBezTo>
                  <a:pt x="78062" y="2842650"/>
                  <a:pt x="95481" y="2860069"/>
                  <a:pt x="95481" y="2881358"/>
                </a:cubicBezTo>
                <a:cubicBezTo>
                  <a:pt x="95481" y="2902648"/>
                  <a:pt x="78062" y="2920067"/>
                  <a:pt x="56772" y="2920067"/>
                </a:cubicBezTo>
                <a:cubicBezTo>
                  <a:pt x="34837" y="2920067"/>
                  <a:pt x="18064" y="2902648"/>
                  <a:pt x="18064" y="2881358"/>
                </a:cubicBezTo>
                <a:cubicBezTo>
                  <a:pt x="18064" y="2860069"/>
                  <a:pt x="35482" y="2842650"/>
                  <a:pt x="56772" y="2842650"/>
                </a:cubicBezTo>
                <a:close/>
                <a:moveTo>
                  <a:pt x="629011" y="2794264"/>
                </a:moveTo>
                <a:cubicBezTo>
                  <a:pt x="676752" y="2794264"/>
                  <a:pt x="716105" y="2832972"/>
                  <a:pt x="716105" y="2881358"/>
                </a:cubicBezTo>
                <a:cubicBezTo>
                  <a:pt x="716105" y="2929098"/>
                  <a:pt x="677397" y="2968451"/>
                  <a:pt x="629011" y="2968451"/>
                </a:cubicBezTo>
                <a:cubicBezTo>
                  <a:pt x="580626" y="2968451"/>
                  <a:pt x="541273" y="2929744"/>
                  <a:pt x="541918" y="2881358"/>
                </a:cubicBezTo>
                <a:cubicBezTo>
                  <a:pt x="541918" y="2833617"/>
                  <a:pt x="580626" y="2794264"/>
                  <a:pt x="629011" y="2794264"/>
                </a:cubicBezTo>
                <a:close/>
                <a:moveTo>
                  <a:pt x="1201251" y="2715556"/>
                </a:moveTo>
                <a:cubicBezTo>
                  <a:pt x="1292862" y="2715556"/>
                  <a:pt x="1367053" y="2789748"/>
                  <a:pt x="1367053" y="2881358"/>
                </a:cubicBezTo>
                <a:cubicBezTo>
                  <a:pt x="1367053" y="2972968"/>
                  <a:pt x="1292862" y="3047159"/>
                  <a:pt x="1201251" y="3047159"/>
                </a:cubicBezTo>
                <a:cubicBezTo>
                  <a:pt x="1109641" y="3047159"/>
                  <a:pt x="1035450" y="2972968"/>
                  <a:pt x="1035450" y="2881358"/>
                </a:cubicBezTo>
                <a:cubicBezTo>
                  <a:pt x="1035450" y="2789748"/>
                  <a:pt x="1109641" y="2715556"/>
                  <a:pt x="1201251" y="2715556"/>
                </a:cubicBezTo>
                <a:close/>
                <a:moveTo>
                  <a:pt x="629011" y="2240733"/>
                </a:moveTo>
                <a:cubicBezTo>
                  <a:pt x="666430" y="2240733"/>
                  <a:pt x="696752" y="2271056"/>
                  <a:pt x="696752" y="2308473"/>
                </a:cubicBezTo>
                <a:cubicBezTo>
                  <a:pt x="696752" y="2345890"/>
                  <a:pt x="666430" y="2376215"/>
                  <a:pt x="629011" y="2376215"/>
                </a:cubicBezTo>
                <a:cubicBezTo>
                  <a:pt x="591594" y="2376215"/>
                  <a:pt x="561272" y="2345890"/>
                  <a:pt x="561272" y="2308473"/>
                </a:cubicBezTo>
                <a:cubicBezTo>
                  <a:pt x="561272" y="2271056"/>
                  <a:pt x="591594" y="2240733"/>
                  <a:pt x="629011" y="2240733"/>
                </a:cubicBezTo>
                <a:close/>
                <a:moveTo>
                  <a:pt x="1201250" y="2176227"/>
                </a:moveTo>
                <a:cubicBezTo>
                  <a:pt x="1274151" y="2176227"/>
                  <a:pt x="1333504" y="2235577"/>
                  <a:pt x="1333504" y="2308480"/>
                </a:cubicBezTo>
                <a:cubicBezTo>
                  <a:pt x="1333504" y="2381376"/>
                  <a:pt x="1274151" y="2440726"/>
                  <a:pt x="1201250" y="2440726"/>
                </a:cubicBezTo>
                <a:cubicBezTo>
                  <a:pt x="1128349" y="2440726"/>
                  <a:pt x="1068997" y="2382023"/>
                  <a:pt x="1068997" y="2308480"/>
                </a:cubicBezTo>
                <a:cubicBezTo>
                  <a:pt x="1068997" y="2235577"/>
                  <a:pt x="1128349" y="2176227"/>
                  <a:pt x="1201250" y="2176227"/>
                </a:cubicBezTo>
                <a:close/>
                <a:moveTo>
                  <a:pt x="1773490" y="2088481"/>
                </a:moveTo>
                <a:cubicBezTo>
                  <a:pt x="1864456" y="2088481"/>
                  <a:pt x="1942719" y="2144006"/>
                  <a:pt x="1976166" y="2222936"/>
                </a:cubicBezTo>
                <a:lnTo>
                  <a:pt x="1987399" y="2278426"/>
                </a:lnTo>
                <a:lnTo>
                  <a:pt x="1985740" y="2294891"/>
                </a:lnTo>
                <a:lnTo>
                  <a:pt x="1989817" y="2326586"/>
                </a:lnTo>
                <a:lnTo>
                  <a:pt x="1976166" y="2394018"/>
                </a:lnTo>
                <a:cubicBezTo>
                  <a:pt x="1942719" y="2472946"/>
                  <a:pt x="1864456" y="2528464"/>
                  <a:pt x="1773490" y="2528464"/>
                </a:cubicBezTo>
                <a:cubicBezTo>
                  <a:pt x="1652204" y="2528464"/>
                  <a:pt x="1553498" y="2430406"/>
                  <a:pt x="1553498" y="2308473"/>
                </a:cubicBezTo>
                <a:cubicBezTo>
                  <a:pt x="1553498" y="2187186"/>
                  <a:pt x="1652204" y="2088481"/>
                  <a:pt x="1773490" y="2088481"/>
                </a:cubicBezTo>
                <a:close/>
                <a:moveTo>
                  <a:pt x="629011" y="1688493"/>
                </a:moveTo>
                <a:cubicBezTo>
                  <a:pt x="655462" y="1688493"/>
                  <a:pt x="676752" y="1709783"/>
                  <a:pt x="676752" y="1736234"/>
                </a:cubicBezTo>
                <a:cubicBezTo>
                  <a:pt x="676752" y="1762684"/>
                  <a:pt x="655462" y="1783975"/>
                  <a:pt x="629011" y="1783975"/>
                </a:cubicBezTo>
                <a:cubicBezTo>
                  <a:pt x="602561" y="1783975"/>
                  <a:pt x="581271" y="1762684"/>
                  <a:pt x="581271" y="1736234"/>
                </a:cubicBezTo>
                <a:cubicBezTo>
                  <a:pt x="581271" y="1709783"/>
                  <a:pt x="602561" y="1688493"/>
                  <a:pt x="629011" y="1688493"/>
                </a:cubicBezTo>
                <a:close/>
                <a:moveTo>
                  <a:pt x="1201250" y="1639465"/>
                </a:moveTo>
                <a:cubicBezTo>
                  <a:pt x="1254798" y="1639465"/>
                  <a:pt x="1298022" y="1682692"/>
                  <a:pt x="1298022" y="1736237"/>
                </a:cubicBezTo>
                <a:cubicBezTo>
                  <a:pt x="1298022" y="1789784"/>
                  <a:pt x="1254798" y="1833008"/>
                  <a:pt x="1201250" y="1833008"/>
                </a:cubicBezTo>
                <a:cubicBezTo>
                  <a:pt x="1147704" y="1833008"/>
                  <a:pt x="1104480" y="1789784"/>
                  <a:pt x="1104480" y="1736237"/>
                </a:cubicBezTo>
                <a:cubicBezTo>
                  <a:pt x="1104480" y="1682692"/>
                  <a:pt x="1147704" y="1639465"/>
                  <a:pt x="1201250" y="1639465"/>
                </a:cubicBezTo>
                <a:close/>
                <a:moveTo>
                  <a:pt x="1741933" y="1572389"/>
                </a:moveTo>
                <a:cubicBezTo>
                  <a:pt x="1832555" y="1554938"/>
                  <a:pt x="1920163" y="1614255"/>
                  <a:pt x="1937614" y="1704875"/>
                </a:cubicBezTo>
                <a:cubicBezTo>
                  <a:pt x="1955064" y="1795496"/>
                  <a:pt x="1895749" y="1883105"/>
                  <a:pt x="1805127" y="1900555"/>
                </a:cubicBezTo>
                <a:cubicBezTo>
                  <a:pt x="1714507" y="1918005"/>
                  <a:pt x="1626897" y="1858692"/>
                  <a:pt x="1609447" y="1768068"/>
                </a:cubicBezTo>
                <a:cubicBezTo>
                  <a:pt x="1591996" y="1677449"/>
                  <a:pt x="1651313" y="1589840"/>
                  <a:pt x="1741933" y="1572389"/>
                </a:cubicBezTo>
                <a:close/>
                <a:moveTo>
                  <a:pt x="1189474" y="1102707"/>
                </a:moveTo>
                <a:cubicBezTo>
                  <a:pt x="1223414" y="1096172"/>
                  <a:pt x="1256226" y="1118389"/>
                  <a:pt x="1262761" y="1152327"/>
                </a:cubicBezTo>
                <a:cubicBezTo>
                  <a:pt x="1269297" y="1186266"/>
                  <a:pt x="1247081" y="1219079"/>
                  <a:pt x="1213141" y="1225613"/>
                </a:cubicBezTo>
                <a:cubicBezTo>
                  <a:pt x="1179203" y="1232150"/>
                  <a:pt x="1146392" y="1209934"/>
                  <a:pt x="1139856" y="1175994"/>
                </a:cubicBezTo>
                <a:cubicBezTo>
                  <a:pt x="1133320" y="1142055"/>
                  <a:pt x="1155536" y="1109244"/>
                  <a:pt x="1189474" y="1102707"/>
                </a:cubicBezTo>
                <a:close/>
                <a:moveTo>
                  <a:pt x="1773490" y="1043355"/>
                </a:moveTo>
                <a:cubicBezTo>
                  <a:pt x="1839939" y="1043355"/>
                  <a:pt x="1894132" y="1097545"/>
                  <a:pt x="1894132" y="1163996"/>
                </a:cubicBezTo>
                <a:cubicBezTo>
                  <a:pt x="1894132" y="1230445"/>
                  <a:pt x="1839939" y="1284638"/>
                  <a:pt x="1773490" y="1284638"/>
                </a:cubicBezTo>
                <a:cubicBezTo>
                  <a:pt x="1707040" y="1284638"/>
                  <a:pt x="1652849" y="1230445"/>
                  <a:pt x="1652849" y="1163996"/>
                </a:cubicBezTo>
                <a:cubicBezTo>
                  <a:pt x="1652849" y="1097545"/>
                  <a:pt x="1707040" y="1043355"/>
                  <a:pt x="1773490" y="1043355"/>
                </a:cubicBezTo>
                <a:close/>
                <a:moveTo>
                  <a:pt x="2346375" y="973034"/>
                </a:moveTo>
                <a:cubicBezTo>
                  <a:pt x="2451840" y="973034"/>
                  <a:pt x="2537336" y="1058530"/>
                  <a:pt x="2537336" y="1163996"/>
                </a:cubicBezTo>
                <a:cubicBezTo>
                  <a:pt x="2537336" y="1269461"/>
                  <a:pt x="2451840" y="1354957"/>
                  <a:pt x="2346375" y="1354957"/>
                </a:cubicBezTo>
                <a:cubicBezTo>
                  <a:pt x="2240910" y="1354957"/>
                  <a:pt x="2155413" y="1269461"/>
                  <a:pt x="2155413" y="1163996"/>
                </a:cubicBezTo>
                <a:cubicBezTo>
                  <a:pt x="2155413" y="1058530"/>
                  <a:pt x="2240910" y="973034"/>
                  <a:pt x="2346375" y="973034"/>
                </a:cubicBezTo>
                <a:close/>
                <a:moveTo>
                  <a:pt x="1201251" y="554986"/>
                </a:moveTo>
                <a:cubicBezTo>
                  <a:pt x="1221250" y="554986"/>
                  <a:pt x="1238024" y="571759"/>
                  <a:pt x="1238024" y="591758"/>
                </a:cubicBezTo>
                <a:cubicBezTo>
                  <a:pt x="1238024" y="611758"/>
                  <a:pt x="1221250" y="628531"/>
                  <a:pt x="1201251" y="628531"/>
                </a:cubicBezTo>
                <a:cubicBezTo>
                  <a:pt x="1181252" y="628531"/>
                  <a:pt x="1164478" y="611758"/>
                  <a:pt x="1164478" y="591758"/>
                </a:cubicBezTo>
                <a:cubicBezTo>
                  <a:pt x="1164478" y="571759"/>
                  <a:pt x="1181252" y="554986"/>
                  <a:pt x="1201251" y="554986"/>
                </a:cubicBezTo>
                <a:close/>
                <a:moveTo>
                  <a:pt x="1773490" y="516275"/>
                </a:moveTo>
                <a:cubicBezTo>
                  <a:pt x="1815424" y="516275"/>
                  <a:pt x="1848972" y="549823"/>
                  <a:pt x="1848972" y="591757"/>
                </a:cubicBezTo>
                <a:cubicBezTo>
                  <a:pt x="1848972" y="633690"/>
                  <a:pt x="1815424" y="667238"/>
                  <a:pt x="1773490" y="667238"/>
                </a:cubicBezTo>
                <a:cubicBezTo>
                  <a:pt x="1732201" y="667238"/>
                  <a:pt x="1698009" y="633047"/>
                  <a:pt x="1698009" y="591757"/>
                </a:cubicBezTo>
                <a:cubicBezTo>
                  <a:pt x="1698009" y="549823"/>
                  <a:pt x="1731556" y="516275"/>
                  <a:pt x="1773490" y="516275"/>
                </a:cubicBezTo>
                <a:close/>
                <a:moveTo>
                  <a:pt x="2346375" y="462084"/>
                </a:moveTo>
                <a:cubicBezTo>
                  <a:pt x="2417986" y="462084"/>
                  <a:pt x="2476048" y="520146"/>
                  <a:pt x="2476048" y="591757"/>
                </a:cubicBezTo>
                <a:cubicBezTo>
                  <a:pt x="2476048" y="663367"/>
                  <a:pt x="2417986" y="721429"/>
                  <a:pt x="2346375" y="721429"/>
                </a:cubicBezTo>
                <a:cubicBezTo>
                  <a:pt x="2274764" y="721429"/>
                  <a:pt x="2216057" y="663367"/>
                  <a:pt x="2216701" y="591757"/>
                </a:cubicBezTo>
                <a:cubicBezTo>
                  <a:pt x="2216701" y="520146"/>
                  <a:pt x="2274764" y="462084"/>
                  <a:pt x="2346375" y="462084"/>
                </a:cubicBezTo>
                <a:close/>
                <a:moveTo>
                  <a:pt x="2918615" y="395638"/>
                </a:moveTo>
                <a:cubicBezTo>
                  <a:pt x="3026353" y="395638"/>
                  <a:pt x="3114093" y="483377"/>
                  <a:pt x="3114093" y="591115"/>
                </a:cubicBezTo>
                <a:cubicBezTo>
                  <a:pt x="3114093" y="698853"/>
                  <a:pt x="3026353" y="786593"/>
                  <a:pt x="2918615" y="786593"/>
                </a:cubicBezTo>
                <a:cubicBezTo>
                  <a:pt x="2810876" y="786593"/>
                  <a:pt x="2723138" y="699498"/>
                  <a:pt x="2723138" y="591115"/>
                </a:cubicBezTo>
                <a:cubicBezTo>
                  <a:pt x="2723138" y="483377"/>
                  <a:pt x="2810876" y="395638"/>
                  <a:pt x="2918615" y="395638"/>
                </a:cubicBezTo>
                <a:close/>
                <a:moveTo>
                  <a:pt x="4310583" y="0"/>
                </a:moveTo>
                <a:lnTo>
                  <a:pt x="6616265" y="0"/>
                </a:lnTo>
                <a:lnTo>
                  <a:pt x="6616265" y="6843715"/>
                </a:lnTo>
                <a:lnTo>
                  <a:pt x="1487341" y="6843715"/>
                </a:lnTo>
                <a:lnTo>
                  <a:pt x="1496539" y="6801672"/>
                </a:lnTo>
                <a:cubicBezTo>
                  <a:pt x="1527560" y="6703935"/>
                  <a:pt x="1618657" y="6632808"/>
                  <a:pt x="1727039" y="6632808"/>
                </a:cubicBezTo>
                <a:cubicBezTo>
                  <a:pt x="1847035" y="6632808"/>
                  <a:pt x="1946387" y="6719902"/>
                  <a:pt x="1965741" y="6834092"/>
                </a:cubicBezTo>
                <a:cubicBezTo>
                  <a:pt x="1976709" y="6743773"/>
                  <a:pt x="2023158" y="6665065"/>
                  <a:pt x="2090255" y="6611519"/>
                </a:cubicBezTo>
                <a:cubicBezTo>
                  <a:pt x="2034126" y="6573455"/>
                  <a:pt x="1988966" y="6521200"/>
                  <a:pt x="1960580" y="6459266"/>
                </a:cubicBezTo>
                <a:cubicBezTo>
                  <a:pt x="1910259" y="6534102"/>
                  <a:pt x="1824455" y="6583778"/>
                  <a:pt x="1727039" y="6583778"/>
                </a:cubicBezTo>
                <a:cubicBezTo>
                  <a:pt x="1571560" y="6583778"/>
                  <a:pt x="1445758" y="6457976"/>
                  <a:pt x="1445758" y="6302497"/>
                </a:cubicBezTo>
                <a:cubicBezTo>
                  <a:pt x="1445758" y="6170244"/>
                  <a:pt x="1536078" y="6059924"/>
                  <a:pt x="1658654" y="6029603"/>
                </a:cubicBezTo>
                <a:cubicBezTo>
                  <a:pt x="1521884" y="5997991"/>
                  <a:pt x="1419307" y="5876060"/>
                  <a:pt x="1419307" y="5729612"/>
                </a:cubicBezTo>
                <a:cubicBezTo>
                  <a:pt x="1419307" y="5606391"/>
                  <a:pt x="1492853" y="5499943"/>
                  <a:pt x="1598012" y="5450912"/>
                </a:cubicBezTo>
                <a:cubicBezTo>
                  <a:pt x="1513337" y="5413655"/>
                  <a:pt x="1447894" y="5340835"/>
                  <a:pt x="1420467" y="5251503"/>
                </a:cubicBezTo>
                <a:lnTo>
                  <a:pt x="1412511" y="5198249"/>
                </a:lnTo>
                <a:lnTo>
                  <a:pt x="1418018" y="5170959"/>
                </a:lnTo>
                <a:lnTo>
                  <a:pt x="1410074" y="5131470"/>
                </a:lnTo>
                <a:lnTo>
                  <a:pt x="1419106" y="5067729"/>
                </a:lnTo>
                <a:cubicBezTo>
                  <a:pt x="1443902" y="4982420"/>
                  <a:pt x="1503175" y="4911898"/>
                  <a:pt x="1580592" y="4872221"/>
                </a:cubicBezTo>
                <a:cubicBezTo>
                  <a:pt x="1502208" y="4832546"/>
                  <a:pt x="1442330" y="4761298"/>
                  <a:pt x="1417291" y="4675353"/>
                </a:cubicBezTo>
                <a:lnTo>
                  <a:pt x="1411993" y="4638076"/>
                </a:lnTo>
                <a:lnTo>
                  <a:pt x="1419954" y="4598720"/>
                </a:lnTo>
                <a:lnTo>
                  <a:pt x="1409763" y="4548338"/>
                </a:lnTo>
                <a:lnTo>
                  <a:pt x="1417623" y="4493696"/>
                </a:lnTo>
                <a:cubicBezTo>
                  <a:pt x="1443297" y="4406753"/>
                  <a:pt x="1504626" y="4335143"/>
                  <a:pt x="1584463" y="4295466"/>
                </a:cubicBezTo>
                <a:cubicBezTo>
                  <a:pt x="1507047" y="4256273"/>
                  <a:pt x="1447775" y="4186235"/>
                  <a:pt x="1422978" y="4101409"/>
                </a:cubicBezTo>
                <a:lnTo>
                  <a:pt x="1412759" y="4029675"/>
                </a:lnTo>
                <a:lnTo>
                  <a:pt x="1412855" y="4028809"/>
                </a:lnTo>
                <a:lnTo>
                  <a:pt x="1410785" y="4005809"/>
                </a:lnTo>
                <a:lnTo>
                  <a:pt x="1414258" y="3961788"/>
                </a:lnTo>
                <a:cubicBezTo>
                  <a:pt x="1432604" y="3846780"/>
                  <a:pt x="1512692" y="3752580"/>
                  <a:pt x="1619945" y="3714195"/>
                </a:cubicBezTo>
                <a:cubicBezTo>
                  <a:pt x="1510272" y="3670971"/>
                  <a:pt x="1432210" y="3564522"/>
                  <a:pt x="1432210" y="3440010"/>
                </a:cubicBezTo>
                <a:cubicBezTo>
                  <a:pt x="1432210" y="3276790"/>
                  <a:pt x="1564463" y="3145181"/>
                  <a:pt x="1727039" y="3145181"/>
                </a:cubicBezTo>
                <a:cubicBezTo>
                  <a:pt x="1821230" y="3145181"/>
                  <a:pt x="1905097" y="3189695"/>
                  <a:pt x="1959290" y="3259371"/>
                </a:cubicBezTo>
                <a:cubicBezTo>
                  <a:pt x="1985740" y="3210340"/>
                  <a:pt x="2022513" y="3167116"/>
                  <a:pt x="2066382" y="3133569"/>
                </a:cubicBezTo>
                <a:cubicBezTo>
                  <a:pt x="2019932" y="3092925"/>
                  <a:pt x="1983805" y="3040023"/>
                  <a:pt x="1963805" y="2980026"/>
                </a:cubicBezTo>
                <a:cubicBezTo>
                  <a:pt x="1921226" y="3068409"/>
                  <a:pt x="1830907" y="3129697"/>
                  <a:pt x="1726393" y="3129697"/>
                </a:cubicBezTo>
                <a:cubicBezTo>
                  <a:pt x="1581237" y="3129697"/>
                  <a:pt x="1463822" y="3012282"/>
                  <a:pt x="1463822" y="2867126"/>
                </a:cubicBezTo>
                <a:cubicBezTo>
                  <a:pt x="1463822" y="2721969"/>
                  <a:pt x="1581237" y="2604554"/>
                  <a:pt x="1726393" y="2604554"/>
                </a:cubicBezTo>
                <a:cubicBezTo>
                  <a:pt x="1831551" y="2604554"/>
                  <a:pt x="1921871" y="2665843"/>
                  <a:pt x="1963805" y="2754227"/>
                </a:cubicBezTo>
                <a:cubicBezTo>
                  <a:pt x="1992191" y="2670358"/>
                  <a:pt x="2051544" y="2600038"/>
                  <a:pt x="2128316" y="2557458"/>
                </a:cubicBezTo>
                <a:cubicBezTo>
                  <a:pt x="2063964" y="2515365"/>
                  <a:pt x="2015941" y="2450406"/>
                  <a:pt x="1995952" y="2374289"/>
                </a:cubicBezTo>
                <a:lnTo>
                  <a:pt x="1989817" y="2326586"/>
                </a:lnTo>
                <a:lnTo>
                  <a:pt x="1993483" y="2308473"/>
                </a:lnTo>
                <a:lnTo>
                  <a:pt x="1987399" y="2278426"/>
                </a:lnTo>
                <a:lnTo>
                  <a:pt x="1992121" y="2231592"/>
                </a:lnTo>
                <a:cubicBezTo>
                  <a:pt x="2021404" y="2088536"/>
                  <a:pt x="2147992" y="1981352"/>
                  <a:pt x="2299279" y="1981352"/>
                </a:cubicBezTo>
                <a:cubicBezTo>
                  <a:pt x="2395404" y="1981352"/>
                  <a:pt x="2481208" y="2024578"/>
                  <a:pt x="2538627" y="2092962"/>
                </a:cubicBezTo>
                <a:cubicBezTo>
                  <a:pt x="2566368" y="2047155"/>
                  <a:pt x="2603785" y="2007158"/>
                  <a:pt x="2647655" y="1976190"/>
                </a:cubicBezTo>
                <a:cubicBezTo>
                  <a:pt x="2596689" y="1931031"/>
                  <a:pt x="2559270" y="1871032"/>
                  <a:pt x="2542497" y="1803293"/>
                </a:cubicBezTo>
                <a:cubicBezTo>
                  <a:pt x="2508305" y="1905871"/>
                  <a:pt x="2412178" y="1979417"/>
                  <a:pt x="2298633" y="1979417"/>
                </a:cubicBezTo>
                <a:cubicBezTo>
                  <a:pt x="2156057" y="1979417"/>
                  <a:pt x="2041223" y="1863936"/>
                  <a:pt x="2041223" y="1722003"/>
                </a:cubicBezTo>
                <a:cubicBezTo>
                  <a:pt x="2041223" y="1579429"/>
                  <a:pt x="2156703" y="1464593"/>
                  <a:pt x="2298633" y="1464593"/>
                </a:cubicBezTo>
                <a:cubicBezTo>
                  <a:pt x="2412178" y="1464593"/>
                  <a:pt x="2508305" y="1538784"/>
                  <a:pt x="2542497" y="1640718"/>
                </a:cubicBezTo>
                <a:cubicBezTo>
                  <a:pt x="2570240" y="1529109"/>
                  <a:pt x="2652816" y="1439433"/>
                  <a:pt x="2760555" y="1402016"/>
                </a:cubicBezTo>
                <a:cubicBezTo>
                  <a:pt x="2663138" y="1358789"/>
                  <a:pt x="2595400" y="1262019"/>
                  <a:pt x="2595400" y="1149118"/>
                </a:cubicBezTo>
                <a:cubicBezTo>
                  <a:pt x="2595400" y="996221"/>
                  <a:pt x="2719265" y="872997"/>
                  <a:pt x="2871517" y="872997"/>
                </a:cubicBezTo>
                <a:cubicBezTo>
                  <a:pt x="2983773" y="872997"/>
                  <a:pt x="3079897" y="939449"/>
                  <a:pt x="3123123" y="1035574"/>
                </a:cubicBezTo>
                <a:cubicBezTo>
                  <a:pt x="3159251" y="932997"/>
                  <a:pt x="3243119" y="853000"/>
                  <a:pt x="3348277" y="822035"/>
                </a:cubicBezTo>
                <a:cubicBezTo>
                  <a:pt x="3249571" y="783327"/>
                  <a:pt x="3179895" y="688491"/>
                  <a:pt x="3179895" y="576235"/>
                </a:cubicBezTo>
                <a:cubicBezTo>
                  <a:pt x="3179895" y="430434"/>
                  <a:pt x="3297955" y="312373"/>
                  <a:pt x="3443757" y="312373"/>
                </a:cubicBezTo>
                <a:cubicBezTo>
                  <a:pt x="3567623" y="312373"/>
                  <a:pt x="3672137" y="398822"/>
                  <a:pt x="3699877" y="514303"/>
                </a:cubicBezTo>
                <a:cubicBezTo>
                  <a:pt x="3728909" y="365921"/>
                  <a:pt x="3859227" y="254311"/>
                  <a:pt x="4015997" y="254311"/>
                </a:cubicBezTo>
                <a:cubicBezTo>
                  <a:pt x="4122445" y="254311"/>
                  <a:pt x="4216635" y="305923"/>
                  <a:pt x="4275343" y="385274"/>
                </a:cubicBezTo>
                <a:cubicBezTo>
                  <a:pt x="4314051" y="321405"/>
                  <a:pt x="4372759" y="270440"/>
                  <a:pt x="4441789" y="240118"/>
                </a:cubicBezTo>
                <a:cubicBezTo>
                  <a:pt x="4363083" y="191087"/>
                  <a:pt x="4310179" y="103993"/>
                  <a:pt x="4310179" y="3997"/>
                </a:cubicBezTo>
                <a:close/>
                <a:moveTo>
                  <a:pt x="3836709" y="0"/>
                </a:moveTo>
                <a:lnTo>
                  <a:pt x="4290765" y="0"/>
                </a:lnTo>
                <a:lnTo>
                  <a:pt x="4294697" y="19521"/>
                </a:lnTo>
                <a:cubicBezTo>
                  <a:pt x="4294697" y="147259"/>
                  <a:pt x="4191476" y="250481"/>
                  <a:pt x="4063739" y="250481"/>
                </a:cubicBezTo>
                <a:cubicBezTo>
                  <a:pt x="3935999" y="250481"/>
                  <a:pt x="3832133" y="146614"/>
                  <a:pt x="3832777" y="19521"/>
                </a:cubicBezTo>
                <a:close/>
                <a:moveTo>
                  <a:pt x="3315961" y="0"/>
                </a:moveTo>
                <a:lnTo>
                  <a:pt x="3665747" y="0"/>
                </a:lnTo>
                <a:lnTo>
                  <a:pt x="3669557" y="18877"/>
                </a:lnTo>
                <a:cubicBezTo>
                  <a:pt x="3669557" y="117572"/>
                  <a:pt x="3589549" y="197580"/>
                  <a:pt x="3490853" y="197580"/>
                </a:cubicBezTo>
                <a:cubicBezTo>
                  <a:pt x="3392157" y="197580"/>
                  <a:pt x="3312149" y="117572"/>
                  <a:pt x="3312149" y="18877"/>
                </a:cubicBezTo>
                <a:close/>
                <a:moveTo>
                  <a:pt x="2797407" y="0"/>
                </a:moveTo>
                <a:lnTo>
                  <a:pt x="3039823" y="0"/>
                </a:lnTo>
                <a:lnTo>
                  <a:pt x="3043771" y="19521"/>
                </a:lnTo>
                <a:cubicBezTo>
                  <a:pt x="3043771" y="88551"/>
                  <a:pt x="2987643" y="144678"/>
                  <a:pt x="2918615" y="144678"/>
                </a:cubicBezTo>
                <a:cubicBezTo>
                  <a:pt x="2849583" y="144678"/>
                  <a:pt x="2793457" y="88551"/>
                  <a:pt x="2793457" y="19521"/>
                </a:cubicBezTo>
                <a:close/>
                <a:moveTo>
                  <a:pt x="2274893" y="0"/>
                </a:moveTo>
                <a:lnTo>
                  <a:pt x="2417855" y="0"/>
                </a:lnTo>
                <a:lnTo>
                  <a:pt x="2421856" y="19518"/>
                </a:lnTo>
                <a:cubicBezTo>
                  <a:pt x="2421856" y="60807"/>
                  <a:pt x="2388308" y="94999"/>
                  <a:pt x="2346375" y="94999"/>
                </a:cubicBezTo>
                <a:cubicBezTo>
                  <a:pt x="2304440" y="94999"/>
                  <a:pt x="2270893" y="60807"/>
                  <a:pt x="2270893" y="19518"/>
                </a:cubicBezTo>
                <a:close/>
                <a:moveTo>
                  <a:pt x="1740884" y="0"/>
                </a:moveTo>
                <a:lnTo>
                  <a:pt x="1806098" y="0"/>
                </a:lnTo>
                <a:lnTo>
                  <a:pt x="1814136" y="19519"/>
                </a:lnTo>
                <a:cubicBezTo>
                  <a:pt x="1814136" y="42100"/>
                  <a:pt x="1796071" y="60163"/>
                  <a:pt x="1773490" y="60163"/>
                </a:cubicBezTo>
                <a:cubicBezTo>
                  <a:pt x="1750911" y="60163"/>
                  <a:pt x="1732847" y="41455"/>
                  <a:pt x="1732847" y="19519"/>
                </a:cubicBezTo>
                <a:close/>
              </a:path>
            </a:pathLst>
          </a:custGeom>
          <a:noFill/>
        </p:spPr>
      </p:pic>
    </p:spTree>
    <p:custDataLst>
      <p:custData r:id="rId1"/>
      <p:custData r:id="rId2"/>
    </p:custDataLst>
    <p:extLst>
      <p:ext uri="{BB962C8B-B14F-4D97-AF65-F5344CB8AC3E}">
        <p14:creationId xmlns:p14="http://schemas.microsoft.com/office/powerpoint/2010/main" val="226908732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6E66EE26-2E0D-44E7-A0FD-9D7C25304C70}"/>
              </a:ext>
            </a:extLst>
          </p:cNvPr>
          <p:cNvSpPr>
            <a:spLocks noGrp="1"/>
          </p:cNvSpPr>
          <p:nvPr>
            <p:ph type="sldNum" sz="quarter" idx="12"/>
          </p:nvPr>
        </p:nvSpPr>
        <p:spPr/>
        <p:txBody>
          <a:bodyPr/>
          <a:lstStyle/>
          <a:p>
            <a:fld id="{9E2BE927-25C7-4379-86F1-C17ED9D2A7F2}" type="slidenum">
              <a:rPr lang="en-US" smtClean="0"/>
              <a:pPr/>
              <a:t>10</a:t>
            </a:fld>
            <a:endParaRPr lang="en-US"/>
          </a:p>
        </p:txBody>
      </p:sp>
      <p:sp>
        <p:nvSpPr>
          <p:cNvPr id="14" name="Title 2">
            <a:extLst>
              <a:ext uri="{FF2B5EF4-FFF2-40B4-BE49-F238E27FC236}">
                <a16:creationId xmlns:a16="http://schemas.microsoft.com/office/drawing/2014/main" id="{423B693F-BBB5-C527-8130-FAB83FA410D1}"/>
              </a:ext>
            </a:extLst>
          </p:cNvPr>
          <p:cNvSpPr>
            <a:spLocks noGrp="1"/>
          </p:cNvSpPr>
          <p:nvPr>
            <p:ph type="title"/>
          </p:nvPr>
        </p:nvSpPr>
        <p:spPr>
          <a:xfrm>
            <a:off x="165446" y="104861"/>
            <a:ext cx="11887081" cy="468000"/>
          </a:xfrm>
        </p:spPr>
        <p:txBody>
          <a:bodyPr/>
          <a:lstStyle/>
          <a:p>
            <a:r>
              <a:rPr lang="en-US" sz="2400" b="1" dirty="0"/>
              <a:t>3. </a:t>
            </a:r>
            <a:r>
              <a:rPr lang="en-GB" sz="2400" dirty="0"/>
              <a:t>Increasing incidence of HIV, particularly among Men who have Sex with Men</a:t>
            </a:r>
            <a:br>
              <a:rPr lang="en-US" sz="2400" dirty="0"/>
            </a:br>
            <a:endParaRPr lang="en-US" sz="2400" dirty="0"/>
          </a:p>
        </p:txBody>
      </p:sp>
      <p:sp>
        <p:nvSpPr>
          <p:cNvPr id="26" name="TextBox 25">
            <a:extLst>
              <a:ext uri="{FF2B5EF4-FFF2-40B4-BE49-F238E27FC236}">
                <a16:creationId xmlns:a16="http://schemas.microsoft.com/office/drawing/2014/main" id="{0AF7F75F-32D6-5024-A062-C71128FA0EAB}"/>
              </a:ext>
            </a:extLst>
          </p:cNvPr>
          <p:cNvSpPr txBox="1"/>
          <p:nvPr/>
        </p:nvSpPr>
        <p:spPr>
          <a:xfrm>
            <a:off x="0" y="1058132"/>
            <a:ext cx="6095999" cy="5201424"/>
          </a:xfrm>
          <a:prstGeom prst="rect">
            <a:avLst/>
          </a:prstGeom>
          <a:solidFill>
            <a:schemeClr val="bg1"/>
          </a:solidFill>
        </p:spPr>
        <p:txBody>
          <a:bodyPr wrap="square" lIns="274320" tIns="0" rIns="182880" bIns="0" anchor="t">
            <a:spAutoFit/>
          </a:bodyPr>
          <a:lstStyle/>
          <a:p>
            <a:pPr marL="285750" indent="-285750" algn="just">
              <a:buFont typeface="Wingdings" panose="05000000000000000000" pitchFamily="2" charset="2"/>
              <a:buChar char="§"/>
            </a:pPr>
            <a:r>
              <a:rPr lang="en-GB" sz="1600" b="1" dirty="0">
                <a:solidFill>
                  <a:schemeClr val="tx1"/>
                </a:solidFill>
              </a:rPr>
              <a:t>Challenges with the implementation of </a:t>
            </a:r>
            <a:r>
              <a:rPr lang="en-GB" sz="1600" b="1" dirty="0" err="1">
                <a:solidFill>
                  <a:schemeClr val="tx1"/>
                </a:solidFill>
              </a:rPr>
              <a:t>PreP</a:t>
            </a:r>
            <a:r>
              <a:rPr lang="en-GB" sz="1600" b="1" dirty="0">
                <a:solidFill>
                  <a:schemeClr val="tx1"/>
                </a:solidFill>
              </a:rPr>
              <a:t> program</a:t>
            </a:r>
            <a:r>
              <a:rPr lang="en-GB" sz="1600" dirty="0">
                <a:solidFill>
                  <a:schemeClr val="tx1"/>
                </a:solidFill>
              </a:rPr>
              <a:t>:</a:t>
            </a:r>
          </a:p>
          <a:p>
            <a:pPr algn="just"/>
            <a:endParaRPr lang="en-GB" sz="1600" dirty="0">
              <a:solidFill>
                <a:schemeClr val="tx1"/>
              </a:solidFill>
            </a:endParaRPr>
          </a:p>
          <a:p>
            <a:pPr marL="557784" lvl="1" indent="-285750" algn="just">
              <a:spcAft>
                <a:spcPts val="2400"/>
              </a:spcAft>
              <a:buFont typeface="Arial" panose="020B0604020202020204" pitchFamily="34" charset="0"/>
              <a:buChar char="•"/>
            </a:pPr>
            <a:r>
              <a:rPr lang="en-GB" sz="1600" b="1" dirty="0"/>
              <a:t>Challenges in </a:t>
            </a:r>
            <a:r>
              <a:rPr lang="en-GB" sz="1600" b="1" dirty="0" err="1"/>
              <a:t>PreP</a:t>
            </a:r>
            <a:r>
              <a:rPr lang="en-GB" sz="1600" b="1" dirty="0"/>
              <a:t> implementation</a:t>
            </a:r>
            <a:r>
              <a:rPr lang="en-GB" sz="1600" dirty="0"/>
              <a:t>, including low acceptance rates (34%) and the need for root cause </a:t>
            </a:r>
            <a:r>
              <a:rPr lang="en-GB" sz="1600" b="1" dirty="0"/>
              <a:t>analysis, particularly focused on different age groups</a:t>
            </a:r>
          </a:p>
          <a:p>
            <a:pPr marL="557784" lvl="1" indent="-285750" algn="just">
              <a:spcAft>
                <a:spcPts val="2400"/>
              </a:spcAft>
              <a:buFont typeface="Arial" panose="020B0604020202020204" pitchFamily="34" charset="0"/>
              <a:buChar char="•"/>
            </a:pPr>
            <a:r>
              <a:rPr lang="en-GB" sz="1600" b="1" dirty="0"/>
              <a:t>There is confusion about </a:t>
            </a:r>
            <a:r>
              <a:rPr lang="en-GB" sz="1600" b="1" dirty="0" err="1"/>
              <a:t>PreP</a:t>
            </a:r>
            <a:r>
              <a:rPr lang="en-GB" sz="1600" b="1" dirty="0"/>
              <a:t> rollout plans and target revisions</a:t>
            </a:r>
            <a:r>
              <a:rPr lang="en-GB" sz="1600" dirty="0"/>
              <a:t> (GF targets being 49% for 2024, 35% for 2025, and 28% for 2026)</a:t>
            </a:r>
          </a:p>
          <a:p>
            <a:pPr marL="557784" lvl="1" indent="-285750" algn="just">
              <a:spcAft>
                <a:spcPts val="2400"/>
              </a:spcAft>
              <a:buFont typeface="Arial" panose="020B0604020202020204" pitchFamily="34" charset="0"/>
              <a:buChar char="•"/>
            </a:pPr>
            <a:r>
              <a:rPr lang="en-GB" sz="1600" b="1" dirty="0"/>
              <a:t>Limited resources for community-led services and rigid health facility guidelines, long waiting times, and stigma </a:t>
            </a:r>
            <a:r>
              <a:rPr lang="en-GB" sz="1600" dirty="0"/>
              <a:t>hinder </a:t>
            </a:r>
            <a:r>
              <a:rPr lang="en-GB" sz="1600" dirty="0" err="1"/>
              <a:t>PreP</a:t>
            </a:r>
            <a:r>
              <a:rPr lang="en-GB" sz="1600" dirty="0"/>
              <a:t> demand</a:t>
            </a:r>
          </a:p>
          <a:p>
            <a:pPr marL="557784" lvl="1" indent="-285750" algn="just">
              <a:spcAft>
                <a:spcPts val="2400"/>
              </a:spcAft>
              <a:buFont typeface="Arial" panose="020B0604020202020204" pitchFamily="34" charset="0"/>
              <a:buChar char="•"/>
            </a:pPr>
            <a:r>
              <a:rPr lang="en-GB" sz="1600" b="1" dirty="0"/>
              <a:t>A need for innovative training methods</a:t>
            </a:r>
            <a:r>
              <a:rPr lang="en-GB" sz="1600" dirty="0"/>
              <a:t>, emphasizing online outreach and understanding sexual and gender orientation</a:t>
            </a:r>
            <a:endParaRPr lang="en-GB" sz="1800" dirty="0">
              <a:solidFill>
                <a:schemeClr val="tx1"/>
              </a:solidFill>
            </a:endParaRPr>
          </a:p>
          <a:p>
            <a:pPr marL="742950" lvl="1" indent="-285750">
              <a:spcAft>
                <a:spcPts val="1800"/>
              </a:spcAft>
              <a:buFont typeface="Arial" panose="020B0604020202020204" pitchFamily="34" charset="0"/>
              <a:buChar char="•"/>
              <a:defRPr/>
            </a:pPr>
            <a:endParaRPr lang="en-US" dirty="0">
              <a:latin typeface="Arial" panose="020B0604020202020204" pitchFamily="34" charset="0"/>
              <a:cs typeface="Arial" panose="020B0604020202020204" pitchFamily="34" charset="0"/>
            </a:endParaRPr>
          </a:p>
        </p:txBody>
      </p:sp>
      <p:cxnSp>
        <p:nvCxnSpPr>
          <p:cNvPr id="29" name="Straight Connector 28">
            <a:extLst>
              <a:ext uri="{FF2B5EF4-FFF2-40B4-BE49-F238E27FC236}">
                <a16:creationId xmlns:a16="http://schemas.microsoft.com/office/drawing/2014/main" id="{1846D814-3939-3F53-92E1-E612BBCD9AFD}"/>
              </a:ext>
            </a:extLst>
          </p:cNvPr>
          <p:cNvCxnSpPr>
            <a:cxnSpLocks/>
          </p:cNvCxnSpPr>
          <p:nvPr/>
        </p:nvCxnSpPr>
        <p:spPr>
          <a:xfrm>
            <a:off x="52388" y="812350"/>
            <a:ext cx="12139612" cy="0"/>
          </a:xfrm>
          <a:prstGeom prst="line">
            <a:avLst/>
          </a:prstGeom>
          <a:ln w="285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3" name="TextBox 2">
            <a:extLst>
              <a:ext uri="{FF2B5EF4-FFF2-40B4-BE49-F238E27FC236}">
                <a16:creationId xmlns:a16="http://schemas.microsoft.com/office/drawing/2014/main" id="{A73F9382-D049-883A-CE85-30C548F1F1D4}"/>
              </a:ext>
            </a:extLst>
          </p:cNvPr>
          <p:cNvSpPr txBox="1"/>
          <p:nvPr/>
        </p:nvSpPr>
        <p:spPr>
          <a:xfrm>
            <a:off x="5956528" y="1104358"/>
            <a:ext cx="6095999" cy="4647426"/>
          </a:xfrm>
          <a:prstGeom prst="rect">
            <a:avLst/>
          </a:prstGeom>
          <a:solidFill>
            <a:schemeClr val="bg1"/>
          </a:solidFill>
        </p:spPr>
        <p:txBody>
          <a:bodyPr wrap="square" lIns="274320" tIns="0" rIns="182880" bIns="0" anchor="t">
            <a:spAutoFit/>
          </a:bodyPr>
          <a:lstStyle/>
          <a:p>
            <a:pPr marL="285750" indent="-285750" algn="just">
              <a:buFont typeface="Wingdings" panose="05000000000000000000" pitchFamily="2" charset="2"/>
              <a:buChar char="§"/>
            </a:pPr>
            <a:r>
              <a:rPr lang="en-GB" sz="1600" b="1" dirty="0">
                <a:solidFill>
                  <a:schemeClr val="tx1"/>
                </a:solidFill>
              </a:rPr>
              <a:t>Risks associated with  areas and needed improvements</a:t>
            </a:r>
            <a:r>
              <a:rPr lang="en-GB" sz="1600" dirty="0">
                <a:solidFill>
                  <a:schemeClr val="tx1"/>
                </a:solidFill>
              </a:rPr>
              <a:t>:</a:t>
            </a:r>
          </a:p>
          <a:p>
            <a:pPr algn="just"/>
            <a:endParaRPr lang="en-GB" sz="1600" dirty="0">
              <a:solidFill>
                <a:schemeClr val="tx1"/>
              </a:solidFill>
            </a:endParaRPr>
          </a:p>
          <a:p>
            <a:pPr marL="557784" lvl="1" indent="-285750" algn="just">
              <a:spcAft>
                <a:spcPts val="2400"/>
              </a:spcAft>
              <a:buFont typeface="Arial" panose="020B0604020202020204" pitchFamily="34" charset="0"/>
              <a:buChar char="•"/>
            </a:pPr>
            <a:r>
              <a:rPr lang="en-GB" sz="1600" b="1" dirty="0">
                <a:solidFill>
                  <a:schemeClr val="tx1"/>
                </a:solidFill>
              </a:rPr>
              <a:t>Lack of updated mapping, neglect of positivity yield data </a:t>
            </a:r>
            <a:r>
              <a:rPr lang="en-GB" sz="1600" dirty="0">
                <a:solidFill>
                  <a:schemeClr val="tx1"/>
                </a:solidFill>
              </a:rPr>
              <a:t>(It is important to update the targets and the strategy for interventions based on the positivity data/yield data), and inclusion of TG within MSM </a:t>
            </a:r>
          </a:p>
          <a:p>
            <a:pPr marL="557784" lvl="1" indent="-285750" algn="just">
              <a:spcAft>
                <a:spcPts val="2400"/>
              </a:spcAft>
              <a:buFont typeface="Arial" panose="020B0604020202020204" pitchFamily="34" charset="0"/>
              <a:buChar char="•"/>
            </a:pPr>
            <a:r>
              <a:rPr lang="en-GB" sz="1600" b="1" dirty="0">
                <a:solidFill>
                  <a:schemeClr val="tx1"/>
                </a:solidFill>
              </a:rPr>
              <a:t>Absence of differentiated prevention packages between MSM and TG </a:t>
            </a:r>
            <a:r>
              <a:rPr lang="en-GB" sz="1600" dirty="0">
                <a:solidFill>
                  <a:schemeClr val="tx1"/>
                </a:solidFill>
              </a:rPr>
              <a:t>despite inclusion in the National Strategic Plan (NSP) 2020-2025.</a:t>
            </a:r>
          </a:p>
          <a:p>
            <a:pPr marL="557784" lvl="1" indent="-285750" algn="just">
              <a:spcAft>
                <a:spcPts val="2400"/>
              </a:spcAft>
              <a:buFont typeface="Arial" panose="020B0604020202020204" pitchFamily="34" charset="0"/>
              <a:buChar char="•"/>
            </a:pPr>
            <a:r>
              <a:rPr lang="en-GB" sz="1600" b="1" dirty="0">
                <a:solidFill>
                  <a:schemeClr val="tx1"/>
                </a:solidFill>
              </a:rPr>
              <a:t>Insufficient materials for awareness campaigns</a:t>
            </a:r>
            <a:r>
              <a:rPr lang="en-GB" sz="1600" dirty="0">
                <a:solidFill>
                  <a:schemeClr val="tx1"/>
                </a:solidFill>
              </a:rPr>
              <a:t>, especially condoms, and lack of incentives for volunteers participating in HIV/AIDS awareness activities</a:t>
            </a:r>
          </a:p>
          <a:p>
            <a:pPr marL="742950" lvl="1" indent="-285750">
              <a:spcAft>
                <a:spcPts val="1800"/>
              </a:spcAft>
              <a:buFont typeface="Arial" panose="020B0604020202020204" pitchFamily="34" charset="0"/>
              <a:buChar char="•"/>
              <a:defRPr/>
            </a:pPr>
            <a:endParaRPr lang="en-US" dirty="0">
              <a:latin typeface="Arial" panose="020B0604020202020204" pitchFamily="34" charset="0"/>
              <a:cs typeface="Arial" panose="020B0604020202020204" pitchFamily="34" charset="0"/>
            </a:endParaRPr>
          </a:p>
        </p:txBody>
      </p:sp>
    </p:spTree>
    <p:custDataLst>
      <p:custData r:id="rId1"/>
      <p:custData r:id="rId2"/>
    </p:custDataLst>
    <p:extLst>
      <p:ext uri="{BB962C8B-B14F-4D97-AF65-F5344CB8AC3E}">
        <p14:creationId xmlns:p14="http://schemas.microsoft.com/office/powerpoint/2010/main" val="43564747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6E66EE26-2E0D-44E7-A0FD-9D7C25304C70}"/>
              </a:ext>
            </a:extLst>
          </p:cNvPr>
          <p:cNvSpPr>
            <a:spLocks noGrp="1"/>
          </p:cNvSpPr>
          <p:nvPr>
            <p:ph type="sldNum" sz="quarter" idx="12"/>
          </p:nvPr>
        </p:nvSpPr>
        <p:spPr/>
        <p:txBody>
          <a:bodyPr/>
          <a:lstStyle/>
          <a:p>
            <a:fld id="{9E2BE927-25C7-4379-86F1-C17ED9D2A7F2}" type="slidenum">
              <a:rPr lang="en-US" smtClean="0"/>
              <a:pPr/>
              <a:t>11</a:t>
            </a:fld>
            <a:endParaRPr lang="en-US"/>
          </a:p>
        </p:txBody>
      </p:sp>
      <p:sp>
        <p:nvSpPr>
          <p:cNvPr id="14" name="Title 2">
            <a:extLst>
              <a:ext uri="{FF2B5EF4-FFF2-40B4-BE49-F238E27FC236}">
                <a16:creationId xmlns:a16="http://schemas.microsoft.com/office/drawing/2014/main" id="{423B693F-BBB5-C527-8130-FAB83FA410D1}"/>
              </a:ext>
            </a:extLst>
          </p:cNvPr>
          <p:cNvSpPr>
            <a:spLocks noGrp="1"/>
          </p:cNvSpPr>
          <p:nvPr>
            <p:ph type="title"/>
          </p:nvPr>
        </p:nvSpPr>
        <p:spPr>
          <a:xfrm>
            <a:off x="165446" y="104861"/>
            <a:ext cx="11887081" cy="468000"/>
          </a:xfrm>
        </p:spPr>
        <p:txBody>
          <a:bodyPr/>
          <a:lstStyle/>
          <a:p>
            <a:r>
              <a:rPr lang="en-US" sz="2400" dirty="0"/>
              <a:t>4. HIV treatment coverage and quality</a:t>
            </a:r>
            <a:br>
              <a:rPr lang="en-US" sz="2400" dirty="0"/>
            </a:br>
            <a:endParaRPr lang="en-US" sz="2400" dirty="0"/>
          </a:p>
        </p:txBody>
      </p:sp>
      <p:sp>
        <p:nvSpPr>
          <p:cNvPr id="26" name="TextBox 25">
            <a:extLst>
              <a:ext uri="{FF2B5EF4-FFF2-40B4-BE49-F238E27FC236}">
                <a16:creationId xmlns:a16="http://schemas.microsoft.com/office/drawing/2014/main" id="{0AF7F75F-32D6-5024-A062-C71128FA0EAB}"/>
              </a:ext>
            </a:extLst>
          </p:cNvPr>
          <p:cNvSpPr txBox="1"/>
          <p:nvPr/>
        </p:nvSpPr>
        <p:spPr>
          <a:xfrm>
            <a:off x="0" y="714383"/>
            <a:ext cx="5965901" cy="6093976"/>
          </a:xfrm>
          <a:prstGeom prst="rect">
            <a:avLst/>
          </a:prstGeom>
          <a:solidFill>
            <a:schemeClr val="bg1"/>
          </a:solidFill>
        </p:spPr>
        <p:txBody>
          <a:bodyPr wrap="square" lIns="274320" tIns="0" rIns="182880" bIns="0" anchor="t">
            <a:spAutoFit/>
          </a:bodyPr>
          <a:lstStyle/>
          <a:p>
            <a:pPr marL="285750" indent="-285750" algn="just" defTabSz="457200">
              <a:buFont typeface="Wingdings" panose="05000000000000000000" pitchFamily="2" charset="2"/>
              <a:buChar char="§"/>
            </a:pPr>
            <a:r>
              <a:rPr lang="en-GB" sz="1600" b="1" kern="0" dirty="0">
                <a:solidFill>
                  <a:schemeClr val="tx1"/>
                </a:solidFill>
              </a:rPr>
              <a:t>Discrepancy in follow-up period and WHO staging</a:t>
            </a:r>
            <a:r>
              <a:rPr lang="en-GB" sz="1600" kern="0" dirty="0">
                <a:solidFill>
                  <a:schemeClr val="tx1"/>
                </a:solidFill>
              </a:rPr>
              <a:t>:</a:t>
            </a:r>
          </a:p>
          <a:p>
            <a:pPr marL="557784" lvl="1" indent="-285750" algn="just" defTabSz="457200">
              <a:spcAft>
                <a:spcPts val="1200"/>
              </a:spcAft>
              <a:buFont typeface="Arial" panose="020B0604020202020204" pitchFamily="34" charset="0"/>
              <a:buChar char="•"/>
            </a:pPr>
            <a:r>
              <a:rPr lang="en-GB" sz="1600" kern="0" dirty="0">
                <a:solidFill>
                  <a:schemeClr val="tx1"/>
                </a:solidFill>
              </a:rPr>
              <a:t>Guidelines suggest 28 days of </a:t>
            </a:r>
            <a:r>
              <a:rPr lang="en-GB" sz="1600" kern="0" dirty="0"/>
              <a:t>to start the LTFU</a:t>
            </a:r>
            <a:r>
              <a:rPr lang="en-GB" sz="1600" kern="0" dirty="0">
                <a:solidFill>
                  <a:schemeClr val="tx1"/>
                </a:solidFill>
              </a:rPr>
              <a:t>, the </a:t>
            </a:r>
            <a:r>
              <a:rPr lang="en-GB" sz="1600" kern="0" dirty="0"/>
              <a:t>country’s guidelines indicates </a:t>
            </a:r>
            <a:r>
              <a:rPr lang="en-GB" sz="1600" kern="0" dirty="0">
                <a:solidFill>
                  <a:schemeClr val="tx1"/>
                </a:solidFill>
              </a:rPr>
              <a:t>90 days, causing inconsistencies in treatment evaluation</a:t>
            </a:r>
          </a:p>
          <a:p>
            <a:pPr marL="557784" lvl="1" indent="-285750" algn="just" defTabSz="457200">
              <a:spcAft>
                <a:spcPts val="1200"/>
              </a:spcAft>
              <a:buFont typeface="Arial" panose="020B0604020202020204" pitchFamily="34" charset="0"/>
              <a:buChar char="•"/>
            </a:pPr>
            <a:r>
              <a:rPr lang="en-GB" sz="1600" kern="0" dirty="0">
                <a:solidFill>
                  <a:schemeClr val="tx1"/>
                </a:solidFill>
              </a:rPr>
              <a:t>Delays in treatment initiation are not assessed against WHO staging, affecting treatment enrolment</a:t>
            </a:r>
          </a:p>
          <a:p>
            <a:pPr marL="557784" lvl="1" indent="-285750" algn="just" defTabSz="457200">
              <a:spcAft>
                <a:spcPts val="1200"/>
              </a:spcAft>
              <a:buFont typeface="Arial" panose="020B0604020202020204" pitchFamily="34" charset="0"/>
              <a:buChar char="•"/>
            </a:pPr>
            <a:r>
              <a:rPr lang="en-GB" sz="1600" kern="0" dirty="0">
                <a:solidFill>
                  <a:schemeClr val="tx1"/>
                </a:solidFill>
              </a:rPr>
              <a:t>DHIS 2 lacks updated WHO staging information, leading to incomplete and unreliable 2022 data</a:t>
            </a:r>
          </a:p>
          <a:p>
            <a:pPr algn="just" defTabSz="457200"/>
            <a:endParaRPr lang="en-GB" sz="1600" kern="0" dirty="0">
              <a:solidFill>
                <a:schemeClr val="tx1"/>
              </a:solidFill>
            </a:endParaRPr>
          </a:p>
          <a:p>
            <a:pPr marL="285750" indent="-285750" algn="just" defTabSz="457200">
              <a:buFont typeface="Wingdings" panose="05000000000000000000" pitchFamily="2" charset="2"/>
              <a:buChar char="§"/>
            </a:pPr>
            <a:r>
              <a:rPr lang="en-GB" sz="1600" b="1" kern="0" dirty="0">
                <a:solidFill>
                  <a:schemeClr val="tx1"/>
                </a:solidFill>
              </a:rPr>
              <a:t>Inconsistent Same-Day Treatment Initiation</a:t>
            </a:r>
            <a:r>
              <a:rPr lang="en-GB" sz="1600" kern="0" dirty="0">
                <a:solidFill>
                  <a:schemeClr val="tx1"/>
                </a:solidFill>
              </a:rPr>
              <a:t>:</a:t>
            </a:r>
          </a:p>
          <a:p>
            <a:pPr marL="557784" lvl="1" indent="-285750" algn="just" defTabSz="457200">
              <a:spcAft>
                <a:spcPts val="1200"/>
              </a:spcAft>
              <a:buFont typeface="Arial" panose="020B0604020202020204" pitchFamily="34" charset="0"/>
              <a:buChar char="•"/>
            </a:pPr>
            <a:r>
              <a:rPr lang="en-GB" sz="1600" kern="0" dirty="0">
                <a:solidFill>
                  <a:schemeClr val="tx1"/>
                </a:solidFill>
              </a:rPr>
              <a:t>Same-day treatment initiation rates were 22.1% in 2022 and 29.9% in 2023, not correlated with WHO guidelines.</a:t>
            </a:r>
          </a:p>
          <a:p>
            <a:pPr marL="557784" lvl="1" indent="-285750" algn="just" defTabSz="457200">
              <a:spcAft>
                <a:spcPts val="1200"/>
              </a:spcAft>
              <a:buFont typeface="Arial" panose="020B0604020202020204" pitchFamily="34" charset="0"/>
              <a:buChar char="•"/>
            </a:pPr>
            <a:r>
              <a:rPr lang="en-GB" sz="1600" kern="0" dirty="0">
                <a:solidFill>
                  <a:schemeClr val="tx1"/>
                </a:solidFill>
              </a:rPr>
              <a:t>Only one Point of Care (POC) facility facilitated treatment initiation in 2022, indicating limited capacity</a:t>
            </a:r>
          </a:p>
          <a:p>
            <a:pPr marL="285750" indent="-285750" algn="just" defTabSz="457200">
              <a:buFont typeface="Wingdings" panose="05000000000000000000" pitchFamily="2" charset="2"/>
              <a:buChar char="§"/>
            </a:pPr>
            <a:r>
              <a:rPr lang="en-GB" sz="1600" b="1" kern="0" dirty="0">
                <a:solidFill>
                  <a:schemeClr val="tx1"/>
                </a:solidFill>
              </a:rPr>
              <a:t>Capacity Building and Standardized Procedures</a:t>
            </a:r>
            <a:r>
              <a:rPr lang="en-GB" sz="1600" kern="0" dirty="0">
                <a:solidFill>
                  <a:schemeClr val="tx1"/>
                </a:solidFill>
              </a:rPr>
              <a:t>:</a:t>
            </a:r>
          </a:p>
          <a:p>
            <a:pPr marL="557784" lvl="1" indent="-285750" algn="just" defTabSz="457200">
              <a:spcAft>
                <a:spcPts val="1200"/>
              </a:spcAft>
              <a:buFont typeface="Arial" panose="020B0604020202020204" pitchFamily="34" charset="0"/>
              <a:buChar char="•"/>
            </a:pPr>
            <a:r>
              <a:rPr lang="en-GB" sz="1600" kern="0" dirty="0">
                <a:solidFill>
                  <a:schemeClr val="tx1"/>
                </a:solidFill>
              </a:rPr>
              <a:t>Capacity building for Point of Care (POC) facilities is essential to improve treatment initiation rates</a:t>
            </a:r>
          </a:p>
          <a:p>
            <a:pPr marL="557784" lvl="1" indent="-285750" algn="just" defTabSz="457200">
              <a:spcAft>
                <a:spcPts val="1200"/>
              </a:spcAft>
              <a:buFont typeface="Arial" panose="020B0604020202020204" pitchFamily="34" charset="0"/>
              <a:buChar char="•"/>
            </a:pPr>
            <a:r>
              <a:rPr lang="en-GB" sz="1600" kern="0" dirty="0">
                <a:solidFill>
                  <a:schemeClr val="tx1"/>
                </a:solidFill>
              </a:rPr>
              <a:t>Provider-initiated testing at Primary Healthcare (PHC) level is in question, urging SOP reviews for standardized procedures</a:t>
            </a:r>
            <a:endParaRPr lang="en-US" sz="1600" dirty="0">
              <a:latin typeface="Arial" panose="020B0604020202020204" pitchFamily="34" charset="0"/>
              <a:cs typeface="Arial" panose="020B0604020202020204" pitchFamily="34" charset="0"/>
            </a:endParaRPr>
          </a:p>
        </p:txBody>
      </p:sp>
      <p:cxnSp>
        <p:nvCxnSpPr>
          <p:cNvPr id="29" name="Straight Connector 28">
            <a:extLst>
              <a:ext uri="{FF2B5EF4-FFF2-40B4-BE49-F238E27FC236}">
                <a16:creationId xmlns:a16="http://schemas.microsoft.com/office/drawing/2014/main" id="{1846D814-3939-3F53-92E1-E612BBCD9AFD}"/>
              </a:ext>
            </a:extLst>
          </p:cNvPr>
          <p:cNvCxnSpPr>
            <a:cxnSpLocks/>
          </p:cNvCxnSpPr>
          <p:nvPr/>
        </p:nvCxnSpPr>
        <p:spPr>
          <a:xfrm>
            <a:off x="52388" y="572861"/>
            <a:ext cx="12139612" cy="0"/>
          </a:xfrm>
          <a:prstGeom prst="line">
            <a:avLst/>
          </a:prstGeom>
          <a:ln w="285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3" name="TextBox 2">
            <a:extLst>
              <a:ext uri="{FF2B5EF4-FFF2-40B4-BE49-F238E27FC236}">
                <a16:creationId xmlns:a16="http://schemas.microsoft.com/office/drawing/2014/main" id="{A73F9382-D049-883A-CE85-30C548F1F1D4}"/>
              </a:ext>
            </a:extLst>
          </p:cNvPr>
          <p:cNvSpPr txBox="1"/>
          <p:nvPr/>
        </p:nvSpPr>
        <p:spPr>
          <a:xfrm>
            <a:off x="5880841" y="714382"/>
            <a:ext cx="6086626" cy="5893921"/>
          </a:xfrm>
          <a:prstGeom prst="rect">
            <a:avLst/>
          </a:prstGeom>
          <a:solidFill>
            <a:schemeClr val="bg1"/>
          </a:solidFill>
        </p:spPr>
        <p:txBody>
          <a:bodyPr wrap="square" lIns="274320" tIns="0" rIns="182880" bIns="0" anchor="t">
            <a:spAutoFit/>
          </a:bodyPr>
          <a:lstStyle/>
          <a:p>
            <a:pPr marL="285750" indent="-285750" algn="just" defTabSz="457200">
              <a:buFont typeface="Wingdings" panose="05000000000000000000" pitchFamily="2" charset="2"/>
              <a:buChar char="§"/>
            </a:pPr>
            <a:r>
              <a:rPr lang="en-GB" sz="1600" b="1" kern="0" dirty="0">
                <a:solidFill>
                  <a:schemeClr val="tx1"/>
                </a:solidFill>
              </a:rPr>
              <a:t>Multi-month dispensing challenges</a:t>
            </a:r>
            <a:r>
              <a:rPr lang="en-GB" sz="1600" kern="0" dirty="0">
                <a:solidFill>
                  <a:schemeClr val="tx1"/>
                </a:solidFill>
              </a:rPr>
              <a:t>:</a:t>
            </a:r>
          </a:p>
          <a:p>
            <a:pPr marL="557784" lvl="1" indent="-285750" algn="just" defTabSz="457200">
              <a:buFont typeface="Arial" panose="020B0604020202020204" pitchFamily="34" charset="0"/>
              <a:buChar char="•"/>
            </a:pPr>
            <a:r>
              <a:rPr lang="en-GB" sz="1600" kern="0" dirty="0">
                <a:solidFill>
                  <a:schemeClr val="tx1"/>
                </a:solidFill>
              </a:rPr>
              <a:t>Multi-Month Dispensing (MMD) lasting 5-6 months poses risks for VL testing mental health follow-ups. </a:t>
            </a:r>
          </a:p>
          <a:p>
            <a:pPr marL="557784" lvl="1" indent="-285750" algn="just" defTabSz="457200">
              <a:buFont typeface="Arial" panose="020B0604020202020204" pitchFamily="34" charset="0"/>
              <a:buChar char="•"/>
            </a:pPr>
            <a:endParaRPr lang="en-GB" sz="1600" kern="0" dirty="0">
              <a:solidFill>
                <a:schemeClr val="tx1"/>
              </a:solidFill>
            </a:endParaRPr>
          </a:p>
          <a:p>
            <a:pPr marL="285750" indent="-285750" algn="just" defTabSz="457200">
              <a:buFont typeface="Wingdings" panose="05000000000000000000" pitchFamily="2" charset="2"/>
              <a:buChar char="§"/>
            </a:pPr>
            <a:r>
              <a:rPr lang="en-GB" sz="1600" b="1" kern="0" dirty="0">
                <a:solidFill>
                  <a:schemeClr val="tx1"/>
                </a:solidFill>
              </a:rPr>
              <a:t>Barriers to access and cultural challenges</a:t>
            </a:r>
            <a:r>
              <a:rPr lang="en-GB" sz="1600" kern="0" dirty="0">
                <a:solidFill>
                  <a:schemeClr val="tx1"/>
                </a:solidFill>
              </a:rPr>
              <a:t>:</a:t>
            </a:r>
          </a:p>
          <a:p>
            <a:pPr marL="557784" lvl="1" indent="-285750" algn="just" defTabSz="457200">
              <a:spcAft>
                <a:spcPts val="600"/>
              </a:spcAft>
              <a:buFont typeface="Arial" panose="020B0604020202020204" pitchFamily="34" charset="0"/>
              <a:buChar char="•"/>
            </a:pPr>
            <a:r>
              <a:rPr lang="en-GB" sz="1600" kern="0" dirty="0">
                <a:solidFill>
                  <a:schemeClr val="tx1"/>
                </a:solidFill>
              </a:rPr>
              <a:t>Geographical barriers, limited accessibility due to bad road conditions, and financial barriers such as indirect costs (transportation etc.) hinder patients' access to treatment</a:t>
            </a:r>
          </a:p>
          <a:p>
            <a:pPr marL="557784" lvl="1" indent="-285750" algn="just" defTabSz="457200">
              <a:spcAft>
                <a:spcPts val="600"/>
              </a:spcAft>
              <a:buFont typeface="Arial" panose="020B0604020202020204" pitchFamily="34" charset="0"/>
              <a:buChar char="•"/>
            </a:pPr>
            <a:r>
              <a:rPr lang="en-GB" sz="1600" kern="0" dirty="0">
                <a:solidFill>
                  <a:schemeClr val="tx1"/>
                </a:solidFill>
              </a:rPr>
              <a:t>Cultural barriers, particularly regarding condom use among ethnic minorities, pose challenges in preventive measures implementation</a:t>
            </a:r>
          </a:p>
          <a:p>
            <a:pPr algn="just" defTabSz="457200"/>
            <a:endParaRPr lang="en-GB" sz="1600" kern="0" dirty="0">
              <a:solidFill>
                <a:schemeClr val="tx1"/>
              </a:solidFill>
            </a:endParaRPr>
          </a:p>
          <a:p>
            <a:pPr marL="285750" indent="-285750" algn="just" defTabSz="457200">
              <a:buFont typeface="Wingdings" panose="05000000000000000000" pitchFamily="2" charset="2"/>
              <a:buChar char="§"/>
            </a:pPr>
            <a:r>
              <a:rPr lang="en-GB" sz="1600" b="1" kern="0" dirty="0">
                <a:solidFill>
                  <a:schemeClr val="tx1"/>
                </a:solidFill>
              </a:rPr>
              <a:t>Stock shortages and follow-up difficulties</a:t>
            </a:r>
            <a:r>
              <a:rPr lang="en-GB" sz="1600" kern="0" dirty="0">
                <a:solidFill>
                  <a:schemeClr val="tx1"/>
                </a:solidFill>
              </a:rPr>
              <a:t>:</a:t>
            </a:r>
          </a:p>
          <a:p>
            <a:pPr marL="557784" lvl="1" indent="-285750" algn="just" defTabSz="457200">
              <a:spcAft>
                <a:spcPts val="600"/>
              </a:spcAft>
              <a:buFont typeface="Arial" panose="020B0604020202020204" pitchFamily="34" charset="0"/>
              <a:buChar char="•"/>
            </a:pPr>
            <a:r>
              <a:rPr lang="en-GB" sz="1600" kern="0" dirty="0">
                <a:solidFill>
                  <a:schemeClr val="tx1"/>
                </a:solidFill>
              </a:rPr>
              <a:t>Insufficient opportunistic infections drugs were reported in early 2023 which became not available since June 2023 until October (the final date of the audit)</a:t>
            </a:r>
          </a:p>
          <a:p>
            <a:pPr marL="557784" lvl="1" indent="-285750" algn="just" defTabSz="457200">
              <a:spcAft>
                <a:spcPts val="600"/>
              </a:spcAft>
              <a:buFont typeface="Arial" panose="020B0604020202020204" pitchFamily="34" charset="0"/>
              <a:buChar char="•"/>
            </a:pPr>
            <a:r>
              <a:rPr lang="en-GB" sz="1600" kern="0" dirty="0">
                <a:solidFill>
                  <a:schemeClr val="tx1"/>
                </a:solidFill>
              </a:rPr>
              <a:t>Patients' accessibility is reduced by geographical barriers, financial constraints, and stigma, leading to follow-up challenges and patients lost to follow-up due to emigration and contact changes. E.g., only during the first six months of 22, 64 out of the 978 patients for ART were lost to follow-up</a:t>
            </a:r>
          </a:p>
        </p:txBody>
      </p:sp>
    </p:spTree>
    <p:custDataLst>
      <p:custData r:id="rId1"/>
      <p:custData r:id="rId2"/>
    </p:custDataLst>
    <p:extLst>
      <p:ext uri="{BB962C8B-B14F-4D97-AF65-F5344CB8AC3E}">
        <p14:creationId xmlns:p14="http://schemas.microsoft.com/office/powerpoint/2010/main" val="148206396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6E66EE26-2E0D-44E7-A0FD-9D7C25304C70}"/>
              </a:ext>
            </a:extLst>
          </p:cNvPr>
          <p:cNvSpPr>
            <a:spLocks noGrp="1"/>
          </p:cNvSpPr>
          <p:nvPr>
            <p:ph type="sldNum" sz="quarter" idx="12"/>
          </p:nvPr>
        </p:nvSpPr>
        <p:spPr/>
        <p:txBody>
          <a:bodyPr/>
          <a:lstStyle/>
          <a:p>
            <a:fld id="{9E2BE927-25C7-4379-86F1-C17ED9D2A7F2}" type="slidenum">
              <a:rPr lang="en-US" smtClean="0"/>
              <a:pPr/>
              <a:t>12</a:t>
            </a:fld>
            <a:endParaRPr lang="en-US"/>
          </a:p>
        </p:txBody>
      </p:sp>
      <p:sp>
        <p:nvSpPr>
          <p:cNvPr id="14" name="Title 2">
            <a:extLst>
              <a:ext uri="{FF2B5EF4-FFF2-40B4-BE49-F238E27FC236}">
                <a16:creationId xmlns:a16="http://schemas.microsoft.com/office/drawing/2014/main" id="{423B693F-BBB5-C527-8130-FAB83FA410D1}"/>
              </a:ext>
            </a:extLst>
          </p:cNvPr>
          <p:cNvSpPr>
            <a:spLocks noGrp="1"/>
          </p:cNvSpPr>
          <p:nvPr>
            <p:ph type="title"/>
          </p:nvPr>
        </p:nvSpPr>
        <p:spPr>
          <a:xfrm>
            <a:off x="165446" y="104861"/>
            <a:ext cx="11887081" cy="468000"/>
          </a:xfrm>
        </p:spPr>
        <p:txBody>
          <a:bodyPr/>
          <a:lstStyle/>
          <a:p>
            <a:r>
              <a:rPr lang="en-US" sz="2400" dirty="0">
                <a:latin typeface="Arial Black" panose="020B0A04020102020204" pitchFamily="34" charset="0"/>
                <a:cs typeface="Arial" panose="020B0604020202020204" pitchFamily="34" charset="0"/>
              </a:rPr>
              <a:t>5. Challenges in</a:t>
            </a:r>
            <a:r>
              <a:rPr lang="en-GB" sz="2400" dirty="0">
                <a:latin typeface="Arial Black" panose="020B0A04020102020204" pitchFamily="34" charset="0"/>
                <a:cs typeface="Arial" panose="020B0604020202020204" pitchFamily="34" charset="0"/>
              </a:rPr>
              <a:t> TB case detection </a:t>
            </a:r>
            <a:endParaRPr lang="en-US" sz="2400" dirty="0">
              <a:latin typeface="Arial Black" panose="020B0A04020102020204" pitchFamily="34" charset="0"/>
            </a:endParaRPr>
          </a:p>
        </p:txBody>
      </p:sp>
      <p:sp>
        <p:nvSpPr>
          <p:cNvPr id="15" name="Title 1">
            <a:extLst>
              <a:ext uri="{FF2B5EF4-FFF2-40B4-BE49-F238E27FC236}">
                <a16:creationId xmlns:a16="http://schemas.microsoft.com/office/drawing/2014/main" id="{A5807B17-6BA3-E4A7-40AA-D428CF82C231}"/>
              </a:ext>
            </a:extLst>
          </p:cNvPr>
          <p:cNvSpPr txBox="1">
            <a:spLocks/>
          </p:cNvSpPr>
          <p:nvPr/>
        </p:nvSpPr>
        <p:spPr>
          <a:xfrm>
            <a:off x="-121796" y="766091"/>
            <a:ext cx="11953796" cy="807525"/>
          </a:xfrm>
          <a:prstGeom prst="rect">
            <a:avLst/>
          </a:prstGeom>
        </p:spPr>
        <p:txBody>
          <a:bodyPr vert="horz" lIns="274320" tIns="0" rIns="182880" bIns="0" rtlCol="0" anchor="t" anchorCtr="0">
            <a:noAutofit/>
          </a:bodyPr>
          <a:lstStyle>
            <a:lvl1pPr algn="l" defTabSz="914400" rtl="0" eaLnBrk="1" latinLnBrk="0" hangingPunct="1">
              <a:lnSpc>
                <a:spcPct val="90000"/>
              </a:lnSpc>
              <a:spcBef>
                <a:spcPct val="0"/>
              </a:spcBef>
              <a:buNone/>
              <a:defRPr sz="3200" kern="1200">
                <a:solidFill>
                  <a:schemeClr val="tx1"/>
                </a:solidFill>
                <a:latin typeface="+mj-lt"/>
                <a:ea typeface="+mj-ea"/>
                <a:cs typeface="+mj-cs"/>
              </a:defRPr>
            </a:lvl1pPr>
          </a:lstStyle>
          <a:p>
            <a:pPr marL="404813" indent="-404813" algn="just"/>
            <a:r>
              <a:rPr lang="en-US" sz="1800" b="1" dirty="0">
                <a:solidFill>
                  <a:schemeClr val="tx1"/>
                </a:solidFill>
              </a:rPr>
              <a:t>     </a:t>
            </a:r>
            <a:r>
              <a:rPr lang="en-GB" sz="1600" dirty="0">
                <a:solidFill>
                  <a:schemeClr val="tx1"/>
                </a:solidFill>
              </a:rPr>
              <a:t>Significant challenges in TB detection, including the absence of standardized specimen collection and transportation systems, low case notifications, missed cases, shortages of GeneXpert machines, and limited resources for follow-up and verification</a:t>
            </a:r>
            <a:endParaRPr lang="en-US" sz="1600" dirty="0"/>
          </a:p>
        </p:txBody>
      </p:sp>
      <p:sp>
        <p:nvSpPr>
          <p:cNvPr id="26" name="TextBox 25">
            <a:extLst>
              <a:ext uri="{FF2B5EF4-FFF2-40B4-BE49-F238E27FC236}">
                <a16:creationId xmlns:a16="http://schemas.microsoft.com/office/drawing/2014/main" id="{0AF7F75F-32D6-5024-A062-C71128FA0EAB}"/>
              </a:ext>
            </a:extLst>
          </p:cNvPr>
          <p:cNvSpPr txBox="1"/>
          <p:nvPr/>
        </p:nvSpPr>
        <p:spPr>
          <a:xfrm>
            <a:off x="1" y="1566665"/>
            <a:ext cx="6262576" cy="5355312"/>
          </a:xfrm>
          <a:prstGeom prst="rect">
            <a:avLst/>
          </a:prstGeom>
          <a:solidFill>
            <a:schemeClr val="bg1"/>
          </a:solidFill>
        </p:spPr>
        <p:txBody>
          <a:bodyPr wrap="square" lIns="274320" tIns="0" rIns="182880" bIns="0" anchor="t">
            <a:spAutoFit/>
          </a:bodyPr>
          <a:lstStyle/>
          <a:p>
            <a:pPr marL="285750" indent="-285750" algn="just">
              <a:spcAft>
                <a:spcPts val="2400"/>
              </a:spcAft>
              <a:buFont typeface="Wingdings" panose="05000000000000000000" pitchFamily="2" charset="2"/>
              <a:buChar char="§"/>
            </a:pPr>
            <a:r>
              <a:rPr lang="en-GB" sz="1600" b="1" dirty="0">
                <a:solidFill>
                  <a:schemeClr val="tx1"/>
                </a:solidFill>
              </a:rPr>
              <a:t>Inadequate Capacity and Monitoring</a:t>
            </a:r>
            <a:r>
              <a:rPr lang="en-GB" sz="1600" dirty="0">
                <a:solidFill>
                  <a:schemeClr val="tx1"/>
                </a:solidFill>
              </a:rPr>
              <a:t>: Health facility staff lack the necessary capacity for systematic TB screening among household contacts of all ages, and there's a need to enhance programmatic and funding monitoring.</a:t>
            </a:r>
          </a:p>
          <a:p>
            <a:pPr marL="285750" indent="-285750" algn="just">
              <a:spcAft>
                <a:spcPts val="2400"/>
              </a:spcAft>
              <a:buFont typeface="Wingdings" panose="05000000000000000000" pitchFamily="2" charset="2"/>
              <a:buChar char="§"/>
            </a:pPr>
            <a:r>
              <a:rPr lang="en-GB" sz="1600" b="1" dirty="0">
                <a:solidFill>
                  <a:schemeClr val="tx1"/>
                </a:solidFill>
              </a:rPr>
              <a:t>Integrating TRP-recommended indicators and prioritizing systematic TB screening</a:t>
            </a:r>
            <a:r>
              <a:rPr lang="en-GB" sz="1600" dirty="0">
                <a:solidFill>
                  <a:schemeClr val="tx1"/>
                </a:solidFill>
              </a:rPr>
              <a:t> among household members were lacking in HANSA I.</a:t>
            </a:r>
          </a:p>
          <a:p>
            <a:pPr marL="285750" indent="-285750" algn="just">
              <a:spcAft>
                <a:spcPts val="2400"/>
              </a:spcAft>
              <a:buFont typeface="Wingdings" panose="05000000000000000000" pitchFamily="2" charset="2"/>
              <a:buChar char="§"/>
            </a:pPr>
            <a:r>
              <a:rPr lang="en-GB" sz="1600" b="1" dirty="0">
                <a:solidFill>
                  <a:schemeClr val="tx1"/>
                </a:solidFill>
              </a:rPr>
              <a:t>Challenges in CSO Involvement: </a:t>
            </a:r>
            <a:r>
              <a:rPr lang="en-GB" sz="1600" dirty="0">
                <a:solidFill>
                  <a:schemeClr val="tx1"/>
                </a:solidFill>
              </a:rPr>
              <a:t>New WHO guidelines restrict Civil Society Organizations (CSOs) from sputum collection in TB eradication efforts. Challenges arise in aligning different donor services offered to the same target population. Balancing aspirations for Active Case Finding (ACF) with collaborative support needs to be addressed.</a:t>
            </a:r>
          </a:p>
          <a:p>
            <a:pPr marL="285750" indent="-285750" algn="just">
              <a:spcAft>
                <a:spcPts val="2400"/>
              </a:spcAft>
              <a:buFont typeface="Wingdings" panose="05000000000000000000" pitchFamily="2" charset="2"/>
              <a:buChar char="§"/>
            </a:pPr>
            <a:r>
              <a:rPr lang="en-GB" sz="1600" b="1" dirty="0"/>
              <a:t>High percentages of deaths within one month of tuberculosis treatment in the years 2019 to 2022 </a:t>
            </a:r>
            <a:r>
              <a:rPr lang="en-GB" sz="1600" dirty="0"/>
              <a:t>(61, 65, 68 and 73%, respectively) highlight significant delays in diagnosis and initiation of treatment, indicating that patients are often diagnosed and treated at advanced disease stages. </a:t>
            </a:r>
          </a:p>
        </p:txBody>
      </p:sp>
      <p:cxnSp>
        <p:nvCxnSpPr>
          <p:cNvPr id="29" name="Straight Connector 28">
            <a:extLst>
              <a:ext uri="{FF2B5EF4-FFF2-40B4-BE49-F238E27FC236}">
                <a16:creationId xmlns:a16="http://schemas.microsoft.com/office/drawing/2014/main" id="{1846D814-3939-3F53-92E1-E612BBCD9AFD}"/>
              </a:ext>
            </a:extLst>
          </p:cNvPr>
          <p:cNvCxnSpPr>
            <a:cxnSpLocks/>
          </p:cNvCxnSpPr>
          <p:nvPr/>
        </p:nvCxnSpPr>
        <p:spPr>
          <a:xfrm>
            <a:off x="52388" y="572861"/>
            <a:ext cx="12139612" cy="0"/>
          </a:xfrm>
          <a:prstGeom prst="line">
            <a:avLst/>
          </a:prstGeom>
          <a:ln w="285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3" name="TextBox 2">
            <a:extLst>
              <a:ext uri="{FF2B5EF4-FFF2-40B4-BE49-F238E27FC236}">
                <a16:creationId xmlns:a16="http://schemas.microsoft.com/office/drawing/2014/main" id="{A73F9382-D049-883A-CE85-30C548F1F1D4}"/>
              </a:ext>
            </a:extLst>
          </p:cNvPr>
          <p:cNvSpPr txBox="1"/>
          <p:nvPr/>
        </p:nvSpPr>
        <p:spPr>
          <a:xfrm>
            <a:off x="6262577" y="1557502"/>
            <a:ext cx="5789950" cy="4739759"/>
          </a:xfrm>
          <a:prstGeom prst="rect">
            <a:avLst/>
          </a:prstGeom>
          <a:solidFill>
            <a:schemeClr val="bg1"/>
          </a:solidFill>
        </p:spPr>
        <p:txBody>
          <a:bodyPr wrap="square" lIns="274320" tIns="0" rIns="182880" bIns="0" anchor="t">
            <a:spAutoFit/>
          </a:bodyPr>
          <a:lstStyle/>
          <a:p>
            <a:pPr marL="285750" indent="-285750" algn="just">
              <a:spcAft>
                <a:spcPts val="2400"/>
              </a:spcAft>
              <a:buFont typeface="Wingdings" panose="05000000000000000000" pitchFamily="2" charset="2"/>
              <a:buChar char="§"/>
            </a:pPr>
            <a:r>
              <a:rPr lang="en-US" sz="1600" b="1" dirty="0">
                <a:cs typeface="Arial"/>
              </a:rPr>
              <a:t>Low performance in terms of active case finding and contact tracing </a:t>
            </a:r>
          </a:p>
          <a:p>
            <a:pPr marL="285750" indent="-285750" algn="just">
              <a:spcAft>
                <a:spcPts val="2400"/>
              </a:spcAft>
              <a:buFont typeface="Wingdings" panose="05000000000000000000" pitchFamily="2" charset="2"/>
              <a:buChar char="§"/>
            </a:pPr>
            <a:r>
              <a:rPr lang="en-US" sz="1600" b="1" dirty="0"/>
              <a:t>Decline in the number of identified RR-TB cases </a:t>
            </a:r>
            <a:r>
              <a:rPr lang="en-US" sz="1600" dirty="0"/>
              <a:t>from 52 cases identified in 2018 to 44 cases in 2021 (using the estimated incidence</a:t>
            </a:r>
            <a:r>
              <a:rPr lang="en-US" sz="1600" dirty="0">
                <a:effectLst/>
              </a:rPr>
              <a:t>)</a:t>
            </a:r>
            <a:endParaRPr lang="en-US" sz="1600" dirty="0"/>
          </a:p>
          <a:p>
            <a:pPr marL="285750" indent="-285750" algn="just">
              <a:buFont typeface="Wingdings" panose="05000000000000000000" pitchFamily="2" charset="2"/>
              <a:buChar char="§"/>
            </a:pPr>
            <a:r>
              <a:rPr lang="en-GB" sz="1600" b="1" dirty="0">
                <a:solidFill>
                  <a:schemeClr val="tx1"/>
                </a:solidFill>
              </a:rPr>
              <a:t>Barriers to optimum TB screening</a:t>
            </a:r>
            <a:r>
              <a:rPr lang="en-GB" sz="1600" dirty="0">
                <a:solidFill>
                  <a:schemeClr val="tx1"/>
                </a:solidFill>
              </a:rPr>
              <a:t>: </a:t>
            </a:r>
          </a:p>
          <a:p>
            <a:pPr marL="557784" lvl="1" indent="-285750" algn="just">
              <a:buFont typeface="Arial" panose="020B0604020202020204" pitchFamily="34" charset="0"/>
              <a:buChar char="•"/>
            </a:pPr>
            <a:r>
              <a:rPr lang="en-GB" sz="1600" dirty="0">
                <a:solidFill>
                  <a:schemeClr val="tx1"/>
                </a:solidFill>
              </a:rPr>
              <a:t>Several barriers hinder optimum TB screening at the country level. </a:t>
            </a:r>
          </a:p>
          <a:p>
            <a:pPr marL="557784" lvl="1" indent="-285750" algn="just">
              <a:buFont typeface="Arial" panose="020B0604020202020204" pitchFamily="34" charset="0"/>
              <a:buChar char="•"/>
            </a:pPr>
            <a:r>
              <a:rPr lang="en-GB" sz="1600" dirty="0">
                <a:solidFill>
                  <a:schemeClr val="tx1"/>
                </a:solidFill>
              </a:rPr>
              <a:t>Inadequate Chest X-ray coverage, l</a:t>
            </a:r>
          </a:p>
          <a:p>
            <a:pPr marL="557784" lvl="1" indent="-285750" algn="just">
              <a:buFont typeface="Arial" panose="020B0604020202020204" pitchFamily="34" charset="0"/>
              <a:buChar char="•"/>
            </a:pPr>
            <a:r>
              <a:rPr lang="en-GB" sz="1600" dirty="0">
                <a:solidFill>
                  <a:schemeClr val="tx1"/>
                </a:solidFill>
              </a:rPr>
              <a:t>Limited accessibility to GeneXpert screening tools at district levels (GeneXpert coverage around 66%)</a:t>
            </a:r>
          </a:p>
          <a:p>
            <a:pPr marL="557784" lvl="1" indent="-285750" algn="just">
              <a:buFont typeface="Arial" panose="020B0604020202020204" pitchFamily="34" charset="0"/>
              <a:buChar char="•"/>
            </a:pPr>
            <a:r>
              <a:rPr lang="en-GB" sz="1600" dirty="0">
                <a:solidFill>
                  <a:schemeClr val="tx1"/>
                </a:solidFill>
              </a:rPr>
              <a:t>Remote regions face difficulties in accessing TB services, exacerbating the problem. </a:t>
            </a:r>
          </a:p>
          <a:p>
            <a:pPr marL="557784" lvl="1" indent="-285750" algn="just">
              <a:buFont typeface="Arial" panose="020B0604020202020204" pitchFamily="34" charset="0"/>
              <a:buChar char="•"/>
            </a:pPr>
            <a:r>
              <a:rPr lang="en-GB" sz="1600" dirty="0">
                <a:solidFill>
                  <a:schemeClr val="tx1"/>
                </a:solidFill>
              </a:rPr>
              <a:t>COVID-19 lockdowns led to decreased TB notifications, data entry delays, and funding flow issues, impeding progress</a:t>
            </a:r>
          </a:p>
          <a:p>
            <a:pPr marL="742950" lvl="1" indent="-285750">
              <a:spcAft>
                <a:spcPts val="1800"/>
              </a:spcAft>
              <a:buFont typeface="Arial" panose="020B0604020202020204" pitchFamily="34" charset="0"/>
              <a:buChar char="•"/>
              <a:defRPr/>
            </a:pPr>
            <a:endParaRPr lang="en-US" sz="1200" dirty="0">
              <a:latin typeface="Arial" panose="020B0604020202020204" pitchFamily="34" charset="0"/>
              <a:cs typeface="Arial" panose="020B0604020202020204" pitchFamily="34" charset="0"/>
            </a:endParaRPr>
          </a:p>
        </p:txBody>
      </p:sp>
    </p:spTree>
    <p:custDataLst>
      <p:custData r:id="rId1"/>
      <p:custData r:id="rId2"/>
    </p:custDataLst>
    <p:extLst>
      <p:ext uri="{BB962C8B-B14F-4D97-AF65-F5344CB8AC3E}">
        <p14:creationId xmlns:p14="http://schemas.microsoft.com/office/powerpoint/2010/main" val="180455331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6E66EE26-2E0D-44E7-A0FD-9D7C25304C70}"/>
              </a:ext>
            </a:extLst>
          </p:cNvPr>
          <p:cNvSpPr>
            <a:spLocks noGrp="1"/>
          </p:cNvSpPr>
          <p:nvPr>
            <p:ph type="sldNum" sz="quarter" idx="12"/>
          </p:nvPr>
        </p:nvSpPr>
        <p:spPr/>
        <p:txBody>
          <a:bodyPr/>
          <a:lstStyle/>
          <a:p>
            <a:fld id="{9E2BE927-25C7-4379-86F1-C17ED9D2A7F2}" type="slidenum">
              <a:rPr lang="en-US" smtClean="0"/>
              <a:pPr/>
              <a:t>13</a:t>
            </a:fld>
            <a:endParaRPr lang="en-US"/>
          </a:p>
        </p:txBody>
      </p:sp>
      <p:sp>
        <p:nvSpPr>
          <p:cNvPr id="14" name="Title 2">
            <a:extLst>
              <a:ext uri="{FF2B5EF4-FFF2-40B4-BE49-F238E27FC236}">
                <a16:creationId xmlns:a16="http://schemas.microsoft.com/office/drawing/2014/main" id="{423B693F-BBB5-C527-8130-FAB83FA410D1}"/>
              </a:ext>
            </a:extLst>
          </p:cNvPr>
          <p:cNvSpPr>
            <a:spLocks noGrp="1"/>
          </p:cNvSpPr>
          <p:nvPr>
            <p:ph type="title"/>
          </p:nvPr>
        </p:nvSpPr>
        <p:spPr>
          <a:xfrm>
            <a:off x="165446" y="104861"/>
            <a:ext cx="11887081" cy="468000"/>
          </a:xfrm>
        </p:spPr>
        <p:txBody>
          <a:bodyPr/>
          <a:lstStyle/>
          <a:p>
            <a:r>
              <a:rPr lang="en-US" sz="2400" dirty="0">
                <a:latin typeface="Arial Black" panose="020B0A04020102020204" pitchFamily="34" charset="0"/>
                <a:cs typeface="Arial" panose="020B0604020202020204" pitchFamily="34" charset="0"/>
              </a:rPr>
              <a:t>5. Challenges in</a:t>
            </a:r>
            <a:r>
              <a:rPr lang="en-GB" sz="2400" dirty="0">
                <a:latin typeface="Arial Black" panose="020B0A04020102020204" pitchFamily="34" charset="0"/>
                <a:cs typeface="Arial" panose="020B0604020202020204" pitchFamily="34" charset="0"/>
              </a:rPr>
              <a:t> TB case detection </a:t>
            </a:r>
            <a:endParaRPr lang="en-US" sz="2400" dirty="0">
              <a:latin typeface="Arial Black" panose="020B0A04020102020204" pitchFamily="34" charset="0"/>
            </a:endParaRPr>
          </a:p>
        </p:txBody>
      </p:sp>
      <p:sp>
        <p:nvSpPr>
          <p:cNvPr id="15" name="Title 1">
            <a:extLst>
              <a:ext uri="{FF2B5EF4-FFF2-40B4-BE49-F238E27FC236}">
                <a16:creationId xmlns:a16="http://schemas.microsoft.com/office/drawing/2014/main" id="{A5807B17-6BA3-E4A7-40AA-D428CF82C231}"/>
              </a:ext>
            </a:extLst>
          </p:cNvPr>
          <p:cNvSpPr txBox="1">
            <a:spLocks/>
          </p:cNvSpPr>
          <p:nvPr/>
        </p:nvSpPr>
        <p:spPr>
          <a:xfrm>
            <a:off x="-121796" y="766091"/>
            <a:ext cx="11953796" cy="807525"/>
          </a:xfrm>
          <a:prstGeom prst="rect">
            <a:avLst/>
          </a:prstGeom>
        </p:spPr>
        <p:txBody>
          <a:bodyPr vert="horz" lIns="274320" tIns="0" rIns="182880" bIns="0" rtlCol="0" anchor="t" anchorCtr="0">
            <a:noAutofit/>
          </a:bodyPr>
          <a:lstStyle>
            <a:lvl1pPr algn="l" defTabSz="914400" rtl="0" eaLnBrk="1" latinLnBrk="0" hangingPunct="1">
              <a:lnSpc>
                <a:spcPct val="90000"/>
              </a:lnSpc>
              <a:spcBef>
                <a:spcPct val="0"/>
              </a:spcBef>
              <a:buNone/>
              <a:defRPr sz="3200" kern="1200">
                <a:solidFill>
                  <a:schemeClr val="tx1"/>
                </a:solidFill>
                <a:latin typeface="+mj-lt"/>
                <a:ea typeface="+mj-ea"/>
                <a:cs typeface="+mj-cs"/>
              </a:defRPr>
            </a:lvl1pPr>
          </a:lstStyle>
          <a:p>
            <a:pPr marL="404813" indent="-404813" algn="just"/>
            <a:r>
              <a:rPr lang="en-US" sz="1800" b="1" dirty="0">
                <a:solidFill>
                  <a:schemeClr val="tx1"/>
                </a:solidFill>
              </a:rPr>
              <a:t>     </a:t>
            </a:r>
            <a:r>
              <a:rPr lang="en-GB" sz="1600" dirty="0">
                <a:solidFill>
                  <a:schemeClr val="tx1"/>
                </a:solidFill>
              </a:rPr>
              <a:t>Significant challenges in TB detection, including the absence of standardized specimen collection and transportation systems, low case notifications, missed cases, shortages of GeneXpert machines, and limited resources for follow-up and verification</a:t>
            </a:r>
            <a:endParaRPr lang="en-US" sz="1600" dirty="0"/>
          </a:p>
        </p:txBody>
      </p:sp>
      <p:cxnSp>
        <p:nvCxnSpPr>
          <p:cNvPr id="29" name="Straight Connector 28">
            <a:extLst>
              <a:ext uri="{FF2B5EF4-FFF2-40B4-BE49-F238E27FC236}">
                <a16:creationId xmlns:a16="http://schemas.microsoft.com/office/drawing/2014/main" id="{1846D814-3939-3F53-92E1-E612BBCD9AFD}"/>
              </a:ext>
            </a:extLst>
          </p:cNvPr>
          <p:cNvCxnSpPr>
            <a:cxnSpLocks/>
          </p:cNvCxnSpPr>
          <p:nvPr/>
        </p:nvCxnSpPr>
        <p:spPr>
          <a:xfrm>
            <a:off x="52388" y="572861"/>
            <a:ext cx="12139612" cy="0"/>
          </a:xfrm>
          <a:prstGeom prst="line">
            <a:avLst/>
          </a:prstGeom>
          <a:ln w="285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3" name="TextBox 2">
            <a:extLst>
              <a:ext uri="{FF2B5EF4-FFF2-40B4-BE49-F238E27FC236}">
                <a16:creationId xmlns:a16="http://schemas.microsoft.com/office/drawing/2014/main" id="{A73F9382-D049-883A-CE85-30C548F1F1D4}"/>
              </a:ext>
            </a:extLst>
          </p:cNvPr>
          <p:cNvSpPr txBox="1"/>
          <p:nvPr/>
        </p:nvSpPr>
        <p:spPr>
          <a:xfrm>
            <a:off x="332244" y="1599199"/>
            <a:ext cx="5789950" cy="4985980"/>
          </a:xfrm>
          <a:prstGeom prst="rect">
            <a:avLst/>
          </a:prstGeom>
          <a:solidFill>
            <a:schemeClr val="bg1"/>
          </a:solidFill>
        </p:spPr>
        <p:txBody>
          <a:bodyPr wrap="square" lIns="274320" tIns="0" rIns="182880" bIns="0" anchor="t">
            <a:spAutoFit/>
          </a:bodyPr>
          <a:lstStyle/>
          <a:p>
            <a:pPr marL="285750" indent="-285750" algn="just">
              <a:spcAft>
                <a:spcPts val="1200"/>
              </a:spcAft>
              <a:buFont typeface="Wingdings" panose="05000000000000000000" pitchFamily="2" charset="2"/>
              <a:buChar char="§"/>
            </a:pPr>
            <a:r>
              <a:rPr lang="en-GB" sz="1600" b="1" dirty="0">
                <a:solidFill>
                  <a:schemeClr val="tx1"/>
                </a:solidFill>
              </a:rPr>
              <a:t>Low TB suspected </a:t>
            </a:r>
            <a:r>
              <a:rPr lang="en-GB" sz="1600" b="1" dirty="0"/>
              <a:t>c</a:t>
            </a:r>
            <a:r>
              <a:rPr lang="en-GB" sz="1600" b="1" dirty="0">
                <a:solidFill>
                  <a:schemeClr val="tx1"/>
                </a:solidFill>
              </a:rPr>
              <a:t>ase identification</a:t>
            </a:r>
            <a:r>
              <a:rPr lang="en-GB" sz="1600" dirty="0">
                <a:solidFill>
                  <a:schemeClr val="tx1"/>
                </a:solidFill>
              </a:rPr>
              <a:t>: TB suspected case identification is low due to insufficient screening rates (48% compared to the expected 1% of the population). </a:t>
            </a:r>
          </a:p>
          <a:p>
            <a:pPr marL="742950" lvl="1" indent="-285750" algn="just">
              <a:buFont typeface="Arial" panose="020B0604020202020204" pitchFamily="34" charset="0"/>
              <a:buChar char="•"/>
            </a:pPr>
            <a:r>
              <a:rPr lang="en-GB" sz="1600" dirty="0">
                <a:solidFill>
                  <a:schemeClr val="tx1"/>
                </a:solidFill>
              </a:rPr>
              <a:t>There are </a:t>
            </a:r>
            <a:r>
              <a:rPr lang="en-GB" sz="1600" dirty="0"/>
              <a:t>challenges in sending sputum samples from health centres and district hospitals to diagnostic testing at provincial hospitals with GeneXpert (insufficient funding for transportation costs, leading to reduced staff motivation)</a:t>
            </a:r>
          </a:p>
          <a:p>
            <a:pPr marL="285750" indent="-285750" algn="just">
              <a:buFont typeface="Wingdings" panose="05000000000000000000" pitchFamily="2" charset="2"/>
              <a:buChar char="§"/>
            </a:pPr>
            <a:endParaRPr lang="en-GB" sz="1600" dirty="0"/>
          </a:p>
          <a:p>
            <a:pPr marL="285750" indent="-285750" algn="just">
              <a:spcAft>
                <a:spcPts val="1200"/>
              </a:spcAft>
              <a:buFont typeface="Wingdings" panose="05000000000000000000" pitchFamily="2" charset="2"/>
              <a:buChar char="§"/>
            </a:pPr>
            <a:r>
              <a:rPr lang="en-GB" sz="1600" b="1" dirty="0"/>
              <a:t>Inadequate treatment outcomes and high numbers of deaths and losses to follow-up among diagnosed MDR-TB patients </a:t>
            </a:r>
          </a:p>
          <a:p>
            <a:pPr marL="557784" lvl="1" indent="-285750" algn="just">
              <a:buFont typeface="Arial" panose="020B0604020202020204" pitchFamily="34" charset="0"/>
              <a:buChar char="•"/>
            </a:pPr>
            <a:r>
              <a:rPr lang="en-US" sz="1600" b="1" dirty="0"/>
              <a:t>37% treatment coverage in multi-drug-resistant </a:t>
            </a:r>
            <a:r>
              <a:rPr lang="en-US" sz="1600" dirty="0"/>
              <a:t>tuberculosis (MDR-TB) and RR-TB</a:t>
            </a:r>
            <a:r>
              <a:rPr lang="en-GB" sz="1600" dirty="0"/>
              <a:t>), mostly before starting treatment, partly due to diagnosis and treatment delay, malnutrition and comorbidities and refusal to be treated with long hospitalization duration far from home</a:t>
            </a:r>
            <a:r>
              <a:rPr lang="en-US" sz="1600" dirty="0"/>
              <a:t> </a:t>
            </a:r>
          </a:p>
        </p:txBody>
      </p:sp>
      <p:sp>
        <p:nvSpPr>
          <p:cNvPr id="5" name="TextBox 4">
            <a:extLst>
              <a:ext uri="{FF2B5EF4-FFF2-40B4-BE49-F238E27FC236}">
                <a16:creationId xmlns:a16="http://schemas.microsoft.com/office/drawing/2014/main" id="{6C3FF9B3-94DD-71C1-AFEF-72CB1F469734}"/>
              </a:ext>
            </a:extLst>
          </p:cNvPr>
          <p:cNvSpPr txBox="1"/>
          <p:nvPr/>
        </p:nvSpPr>
        <p:spPr>
          <a:xfrm>
            <a:off x="6006790" y="1573616"/>
            <a:ext cx="5956527" cy="2062103"/>
          </a:xfrm>
          <a:prstGeom prst="rect">
            <a:avLst/>
          </a:prstGeom>
          <a:noFill/>
        </p:spPr>
        <p:txBody>
          <a:bodyPr wrap="square">
            <a:spAutoFit/>
          </a:bodyPr>
          <a:lstStyle/>
          <a:p>
            <a:pPr marL="285750" indent="-285750" algn="just">
              <a:buFont typeface="Wingdings" panose="05000000000000000000" pitchFamily="2" charset="2"/>
              <a:buChar char="§"/>
            </a:pPr>
            <a:r>
              <a:rPr lang="en-US" sz="1600" b="1" dirty="0"/>
              <a:t>Absence of a follow-up system </a:t>
            </a:r>
            <a:r>
              <a:rPr lang="en-US" sz="1600" dirty="0"/>
              <a:t>to ensure that the patients who were referred reached the district or provincial hospital and completed the procedure</a:t>
            </a:r>
          </a:p>
          <a:p>
            <a:pPr marL="285750" indent="-285750" algn="just">
              <a:buFont typeface="Wingdings" panose="05000000000000000000" pitchFamily="2" charset="2"/>
              <a:buChar char="§"/>
            </a:pPr>
            <a:endParaRPr lang="en-US" sz="1600" dirty="0"/>
          </a:p>
          <a:p>
            <a:pPr marL="285750" indent="-285750" algn="just">
              <a:buFont typeface="Wingdings" panose="05000000000000000000" pitchFamily="2" charset="2"/>
              <a:buChar char="§"/>
            </a:pPr>
            <a:r>
              <a:rPr lang="en-US" sz="1600" b="1" dirty="0"/>
              <a:t>High percentages of deaths </a:t>
            </a:r>
            <a:r>
              <a:rPr lang="en-US" sz="1600" dirty="0"/>
              <a:t>within one month of tuberculosis treatment in the following years (2019- 61%, 2020- 65%,2021- 68% and 2022 - 73%, respectively) "</a:t>
            </a:r>
            <a:endParaRPr lang="en-GB" sz="1600" dirty="0"/>
          </a:p>
          <a:p>
            <a:pPr marL="285750" indent="-285750" algn="just">
              <a:buFont typeface="Wingdings" panose="05000000000000000000" pitchFamily="2" charset="2"/>
              <a:buChar char="§"/>
            </a:pPr>
            <a:endParaRPr lang="en-GB" sz="1600" dirty="0"/>
          </a:p>
        </p:txBody>
      </p:sp>
    </p:spTree>
    <p:custDataLst>
      <p:custData r:id="rId1"/>
      <p:custData r:id="rId2"/>
    </p:custDataLst>
    <p:extLst>
      <p:ext uri="{BB962C8B-B14F-4D97-AF65-F5344CB8AC3E}">
        <p14:creationId xmlns:p14="http://schemas.microsoft.com/office/powerpoint/2010/main" val="420965080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Subtitle 10"/>
          <p:cNvSpPr>
            <a:spLocks noGrp="1"/>
          </p:cNvSpPr>
          <p:nvPr>
            <p:ph type="subTitle" idx="16"/>
          </p:nvPr>
        </p:nvSpPr>
        <p:spPr>
          <a:xfrm>
            <a:off x="6433424" y="818300"/>
            <a:ext cx="5367831" cy="457200"/>
          </a:xfrm>
        </p:spPr>
        <p:txBody>
          <a:bodyPr>
            <a:noAutofit/>
          </a:bodyPr>
          <a:lstStyle/>
          <a:p>
            <a:r>
              <a:rPr lang="en-US" sz="2400" b="1">
                <a:solidFill>
                  <a:schemeClr val="tx1"/>
                </a:solidFill>
              </a:rPr>
              <a:t>AUDIT OBJECTIVE #2</a:t>
            </a:r>
            <a:endParaRPr lang="fr-FR" sz="2400" b="1">
              <a:solidFill>
                <a:schemeClr val="tx1"/>
              </a:solidFill>
            </a:endParaRPr>
          </a:p>
        </p:txBody>
      </p:sp>
      <p:sp>
        <p:nvSpPr>
          <p:cNvPr id="4" name="TextBox 3"/>
          <p:cNvSpPr txBox="1"/>
          <p:nvPr/>
        </p:nvSpPr>
        <p:spPr>
          <a:xfrm>
            <a:off x="6433424" y="1284103"/>
            <a:ext cx="5566869" cy="923330"/>
          </a:xfrm>
          <a:prstGeom prst="rect">
            <a:avLst/>
          </a:prstGeom>
          <a:noFill/>
        </p:spPr>
        <p:txBody>
          <a:bodyPr wrap="square" lIns="0" rtlCol="0">
            <a:spAutoFit/>
          </a:bodyPr>
          <a:lstStyle/>
          <a:p>
            <a:pPr algn="just"/>
            <a:r>
              <a:rPr lang="en-US" sz="1800" b="0" i="0" u="none" strike="noStrike" baseline="0">
                <a:solidFill>
                  <a:srgbClr val="000000"/>
                </a:solidFill>
                <a:latin typeface="Arial" panose="020B0604020202020204" pitchFamily="34" charset="0"/>
              </a:rPr>
              <a:t>Grant interventions and approach to implement sustainable people-centered systems for health to deliver impact.</a:t>
            </a:r>
            <a:endParaRPr lang="en-US">
              <a:solidFill>
                <a:prstClr val="black"/>
              </a:solidFill>
              <a:latin typeface="Arial"/>
            </a:endParaRPr>
          </a:p>
        </p:txBody>
      </p:sp>
      <p:cxnSp>
        <p:nvCxnSpPr>
          <p:cNvPr id="3" name="Straight Connector 2"/>
          <p:cNvCxnSpPr>
            <a:cxnSpLocks/>
          </p:cNvCxnSpPr>
          <p:nvPr/>
        </p:nvCxnSpPr>
        <p:spPr>
          <a:xfrm>
            <a:off x="418113" y="2590057"/>
            <a:ext cx="11554812" cy="0"/>
          </a:xfrm>
          <a:prstGeom prst="line">
            <a:avLst/>
          </a:prstGeom>
          <a:ln w="50800">
            <a:solidFill>
              <a:schemeClr val="tx1">
                <a:lumMod val="50000"/>
                <a:lumOff val="50000"/>
              </a:schemeClr>
            </a:solidFill>
          </a:ln>
          <a:effectLst/>
        </p:spPr>
        <p:style>
          <a:lnRef idx="1">
            <a:schemeClr val="accent1"/>
          </a:lnRef>
          <a:fillRef idx="0">
            <a:schemeClr val="accent1"/>
          </a:fillRef>
          <a:effectRef idx="0">
            <a:schemeClr val="accent1"/>
          </a:effectRef>
          <a:fontRef idx="minor">
            <a:schemeClr val="tx1"/>
          </a:fontRef>
        </p:style>
      </p:cxnSp>
      <p:grpSp>
        <p:nvGrpSpPr>
          <p:cNvPr id="5" name="Group 4">
            <a:extLst>
              <a:ext uri="{FF2B5EF4-FFF2-40B4-BE49-F238E27FC236}">
                <a16:creationId xmlns:a16="http://schemas.microsoft.com/office/drawing/2014/main" id="{614B5CE9-2D07-E412-5046-7EE2902EC2C7}"/>
              </a:ext>
            </a:extLst>
          </p:cNvPr>
          <p:cNvGrpSpPr/>
          <p:nvPr/>
        </p:nvGrpSpPr>
        <p:grpSpPr>
          <a:xfrm>
            <a:off x="418113" y="818300"/>
            <a:ext cx="3668516" cy="1665548"/>
            <a:chOff x="748879" y="763725"/>
            <a:chExt cx="3668516" cy="1665548"/>
          </a:xfrm>
        </p:grpSpPr>
        <p:sp>
          <p:nvSpPr>
            <p:cNvPr id="6" name="Rectangle 85">
              <a:extLst>
                <a:ext uri="{FF2B5EF4-FFF2-40B4-BE49-F238E27FC236}">
                  <a16:creationId xmlns:a16="http://schemas.microsoft.com/office/drawing/2014/main" id="{A83F00C2-A69E-61BA-DF55-96FCF52AEC03}"/>
                </a:ext>
              </a:extLst>
            </p:cNvPr>
            <p:cNvSpPr>
              <a:spLocks noChangeAspect="1"/>
            </p:cNvSpPr>
            <p:nvPr/>
          </p:nvSpPr>
          <p:spPr>
            <a:xfrm>
              <a:off x="2751848" y="763725"/>
              <a:ext cx="1665547" cy="1665547"/>
            </a:xfrm>
            <a:custGeom>
              <a:avLst/>
              <a:gdLst/>
              <a:ahLst/>
              <a:cxnLst/>
              <a:rect l="l" t="t" r="r" b="b"/>
              <a:pathLst>
                <a:path w="720080" h="720080">
                  <a:moveTo>
                    <a:pt x="249590" y="392193"/>
                  </a:moveTo>
                  <a:lnTo>
                    <a:pt x="249590" y="447711"/>
                  </a:lnTo>
                  <a:lnTo>
                    <a:pt x="287444" y="447711"/>
                  </a:lnTo>
                  <a:lnTo>
                    <a:pt x="287444" y="392193"/>
                  </a:lnTo>
                  <a:close/>
                  <a:moveTo>
                    <a:pt x="325305" y="336662"/>
                  </a:moveTo>
                  <a:lnTo>
                    <a:pt x="325305" y="447711"/>
                  </a:lnTo>
                  <a:lnTo>
                    <a:pt x="363159" y="447711"/>
                  </a:lnTo>
                  <a:lnTo>
                    <a:pt x="363159" y="336662"/>
                  </a:lnTo>
                  <a:close/>
                  <a:moveTo>
                    <a:pt x="401021" y="281138"/>
                  </a:moveTo>
                  <a:lnTo>
                    <a:pt x="401021" y="447711"/>
                  </a:lnTo>
                  <a:lnTo>
                    <a:pt x="438874" y="447711"/>
                  </a:lnTo>
                  <a:lnTo>
                    <a:pt x="438874" y="281138"/>
                  </a:lnTo>
                  <a:close/>
                  <a:moveTo>
                    <a:pt x="434082" y="216025"/>
                  </a:moveTo>
                  <a:lnTo>
                    <a:pt x="359914" y="272611"/>
                  </a:lnTo>
                  <a:lnTo>
                    <a:pt x="307356" y="256258"/>
                  </a:lnTo>
                  <a:lnTo>
                    <a:pt x="306828" y="255421"/>
                  </a:lnTo>
                  <a:lnTo>
                    <a:pt x="228805" y="314948"/>
                  </a:lnTo>
                  <a:lnTo>
                    <a:pt x="234900" y="324613"/>
                  </a:lnTo>
                  <a:lnTo>
                    <a:pt x="308148" y="268729"/>
                  </a:lnTo>
                  <a:lnTo>
                    <a:pt x="361904" y="285454"/>
                  </a:lnTo>
                  <a:lnTo>
                    <a:pt x="362020" y="285005"/>
                  </a:lnTo>
                  <a:lnTo>
                    <a:pt x="362154" y="285217"/>
                  </a:lnTo>
                  <a:lnTo>
                    <a:pt x="440176" y="225691"/>
                  </a:lnTo>
                  <a:close/>
                  <a:moveTo>
                    <a:pt x="348541" y="183420"/>
                  </a:moveTo>
                  <a:cubicBezTo>
                    <a:pt x="439179" y="183420"/>
                    <a:pt x="512657" y="256898"/>
                    <a:pt x="512657" y="347537"/>
                  </a:cubicBezTo>
                  <a:cubicBezTo>
                    <a:pt x="512657" y="438178"/>
                    <a:pt x="439179" y="511654"/>
                    <a:pt x="348541" y="511654"/>
                  </a:cubicBezTo>
                  <a:cubicBezTo>
                    <a:pt x="257900" y="511654"/>
                    <a:pt x="184422" y="438178"/>
                    <a:pt x="184422" y="347537"/>
                  </a:cubicBezTo>
                  <a:cubicBezTo>
                    <a:pt x="184422" y="256898"/>
                    <a:pt x="257900" y="183420"/>
                    <a:pt x="348541" y="183420"/>
                  </a:cubicBezTo>
                  <a:close/>
                  <a:moveTo>
                    <a:pt x="348541" y="103185"/>
                  </a:moveTo>
                  <a:cubicBezTo>
                    <a:pt x="213588" y="103185"/>
                    <a:pt x="104187" y="212584"/>
                    <a:pt x="104187" y="347537"/>
                  </a:cubicBezTo>
                  <a:cubicBezTo>
                    <a:pt x="104187" y="482490"/>
                    <a:pt x="213588" y="591889"/>
                    <a:pt x="348541" y="591889"/>
                  </a:cubicBezTo>
                  <a:cubicBezTo>
                    <a:pt x="407663" y="591889"/>
                    <a:pt x="461882" y="570892"/>
                    <a:pt x="504139" y="535939"/>
                  </a:cubicBezTo>
                  <a:lnTo>
                    <a:pt x="553135" y="585493"/>
                  </a:lnTo>
                  <a:lnTo>
                    <a:pt x="548430" y="590159"/>
                  </a:lnTo>
                  <a:lnTo>
                    <a:pt x="548209" y="642628"/>
                  </a:lnTo>
                  <a:lnTo>
                    <a:pt x="613000" y="707968"/>
                  </a:lnTo>
                  <a:lnTo>
                    <a:pt x="707533" y="707968"/>
                  </a:lnTo>
                  <a:lnTo>
                    <a:pt x="707533" y="610394"/>
                  </a:lnTo>
                  <a:lnTo>
                    <a:pt x="644660" y="546988"/>
                  </a:lnTo>
                  <a:lnTo>
                    <a:pt x="592192" y="546765"/>
                  </a:lnTo>
                  <a:lnTo>
                    <a:pt x="585801" y="553102"/>
                  </a:lnTo>
                  <a:lnTo>
                    <a:pt x="536680" y="503421"/>
                  </a:lnTo>
                  <a:cubicBezTo>
                    <a:pt x="571794" y="461133"/>
                    <a:pt x="592892" y="406799"/>
                    <a:pt x="592892" y="347537"/>
                  </a:cubicBezTo>
                  <a:cubicBezTo>
                    <a:pt x="592892" y="212584"/>
                    <a:pt x="483490" y="103185"/>
                    <a:pt x="348541" y="103185"/>
                  </a:cubicBezTo>
                  <a:close/>
                  <a:moveTo>
                    <a:pt x="19730" y="0"/>
                  </a:moveTo>
                  <a:lnTo>
                    <a:pt x="700350" y="0"/>
                  </a:lnTo>
                  <a:cubicBezTo>
                    <a:pt x="711247" y="0"/>
                    <a:pt x="720080" y="8833"/>
                    <a:pt x="720080" y="19730"/>
                  </a:cubicBezTo>
                  <a:lnTo>
                    <a:pt x="720080" y="700350"/>
                  </a:lnTo>
                  <a:cubicBezTo>
                    <a:pt x="720080" y="711247"/>
                    <a:pt x="711247" y="720080"/>
                    <a:pt x="700350" y="720080"/>
                  </a:cubicBezTo>
                  <a:lnTo>
                    <a:pt x="19730" y="720080"/>
                  </a:lnTo>
                  <a:cubicBezTo>
                    <a:pt x="8833" y="720080"/>
                    <a:pt x="0" y="711247"/>
                    <a:pt x="0" y="700350"/>
                  </a:cubicBezTo>
                  <a:lnTo>
                    <a:pt x="0" y="19730"/>
                  </a:lnTo>
                  <a:cubicBezTo>
                    <a:pt x="0" y="8833"/>
                    <a:pt x="8833" y="0"/>
                    <a:pt x="19730" y="0"/>
                  </a:cubicBezTo>
                  <a:close/>
                </a:path>
              </a:pathLst>
            </a:custGeom>
            <a:solidFill>
              <a:srgbClr val="666666"/>
            </a:solidFill>
            <a:ln w="25400" cap="flat" cmpd="sng" algn="ctr">
              <a:noFill/>
              <a:prstDash val="solid"/>
            </a:ln>
            <a:effectLst/>
          </p:spPr>
          <p:txBody>
            <a:bodyPr rtlCol="0" anchor="ctr"/>
            <a:lstStyle/>
            <a:p>
              <a:pPr algn="ctr" fontAlgn="base">
                <a:spcBef>
                  <a:spcPct val="0"/>
                </a:spcBef>
                <a:spcAft>
                  <a:spcPct val="0"/>
                </a:spcAft>
                <a:defRPr/>
              </a:pPr>
              <a:endParaRPr lang="en-US" kern="0">
                <a:solidFill>
                  <a:prstClr val="white"/>
                </a:solidFill>
                <a:latin typeface="Arial"/>
                <a:ea typeface="SimHei"/>
              </a:endParaRPr>
            </a:p>
          </p:txBody>
        </p:sp>
        <p:sp>
          <p:nvSpPr>
            <p:cNvPr id="8" name="Rectangle 85">
              <a:extLst>
                <a:ext uri="{FF2B5EF4-FFF2-40B4-BE49-F238E27FC236}">
                  <a16:creationId xmlns:a16="http://schemas.microsoft.com/office/drawing/2014/main" id="{F9C4CEE8-31C7-978C-CFEE-51471EE6C965}"/>
                </a:ext>
              </a:extLst>
            </p:cNvPr>
            <p:cNvSpPr>
              <a:spLocks noChangeAspect="1"/>
            </p:cNvSpPr>
            <p:nvPr/>
          </p:nvSpPr>
          <p:spPr>
            <a:xfrm>
              <a:off x="748879" y="763726"/>
              <a:ext cx="1665547" cy="1665547"/>
            </a:xfrm>
            <a:custGeom>
              <a:avLst/>
              <a:gdLst/>
              <a:ahLst/>
              <a:cxnLst/>
              <a:rect l="l" t="t" r="r" b="b"/>
              <a:pathLst>
                <a:path w="720080" h="720080">
                  <a:moveTo>
                    <a:pt x="327386" y="329590"/>
                  </a:moveTo>
                  <a:lnTo>
                    <a:pt x="392694" y="329590"/>
                  </a:lnTo>
                  <a:lnTo>
                    <a:pt x="392694" y="386202"/>
                  </a:lnTo>
                  <a:lnTo>
                    <a:pt x="449306" y="386202"/>
                  </a:lnTo>
                  <a:lnTo>
                    <a:pt x="449306" y="451445"/>
                  </a:lnTo>
                  <a:lnTo>
                    <a:pt x="392694" y="451445"/>
                  </a:lnTo>
                  <a:lnTo>
                    <a:pt x="392694" y="508057"/>
                  </a:lnTo>
                  <a:lnTo>
                    <a:pt x="327386" y="508057"/>
                  </a:lnTo>
                  <a:lnTo>
                    <a:pt x="327386" y="451445"/>
                  </a:lnTo>
                  <a:lnTo>
                    <a:pt x="270774" y="451445"/>
                  </a:lnTo>
                  <a:lnTo>
                    <a:pt x="270774" y="386202"/>
                  </a:lnTo>
                  <a:lnTo>
                    <a:pt x="327386" y="386202"/>
                  </a:lnTo>
                  <a:close/>
                  <a:moveTo>
                    <a:pt x="296104" y="177128"/>
                  </a:moveTo>
                  <a:lnTo>
                    <a:pt x="424057" y="177128"/>
                  </a:lnTo>
                  <a:lnTo>
                    <a:pt x="424057" y="236939"/>
                  </a:lnTo>
                  <a:lnTo>
                    <a:pt x="296104" y="236939"/>
                  </a:lnTo>
                  <a:close/>
                  <a:moveTo>
                    <a:pt x="262913" y="143937"/>
                  </a:moveTo>
                  <a:lnTo>
                    <a:pt x="262913" y="238764"/>
                  </a:lnTo>
                  <a:lnTo>
                    <a:pt x="136088" y="238764"/>
                  </a:lnTo>
                  <a:cubicBezTo>
                    <a:pt x="120582" y="238764"/>
                    <a:pt x="108012" y="251334"/>
                    <a:pt x="108012" y="266840"/>
                  </a:cubicBezTo>
                  <a:lnTo>
                    <a:pt x="108012" y="570728"/>
                  </a:lnTo>
                  <a:cubicBezTo>
                    <a:pt x="108012" y="586234"/>
                    <a:pt x="120582" y="598804"/>
                    <a:pt x="136088" y="598804"/>
                  </a:cubicBezTo>
                  <a:lnTo>
                    <a:pt x="583992" y="598804"/>
                  </a:lnTo>
                  <a:cubicBezTo>
                    <a:pt x="599498" y="598804"/>
                    <a:pt x="612068" y="586234"/>
                    <a:pt x="612068" y="570728"/>
                  </a:cubicBezTo>
                  <a:lnTo>
                    <a:pt x="612068" y="266840"/>
                  </a:lnTo>
                  <a:cubicBezTo>
                    <a:pt x="612068" y="251334"/>
                    <a:pt x="599498" y="238764"/>
                    <a:pt x="583992" y="238764"/>
                  </a:cubicBezTo>
                  <a:lnTo>
                    <a:pt x="457248" y="238764"/>
                  </a:lnTo>
                  <a:lnTo>
                    <a:pt x="457248" y="143937"/>
                  </a:lnTo>
                  <a:close/>
                  <a:moveTo>
                    <a:pt x="19730" y="0"/>
                  </a:moveTo>
                  <a:lnTo>
                    <a:pt x="700350" y="0"/>
                  </a:lnTo>
                  <a:cubicBezTo>
                    <a:pt x="711247" y="0"/>
                    <a:pt x="720080" y="8833"/>
                    <a:pt x="720080" y="19730"/>
                  </a:cubicBezTo>
                  <a:lnTo>
                    <a:pt x="720080" y="700350"/>
                  </a:lnTo>
                  <a:cubicBezTo>
                    <a:pt x="720080" y="711247"/>
                    <a:pt x="711247" y="720080"/>
                    <a:pt x="700350" y="720080"/>
                  </a:cubicBezTo>
                  <a:lnTo>
                    <a:pt x="19730" y="720080"/>
                  </a:lnTo>
                  <a:cubicBezTo>
                    <a:pt x="8833" y="720080"/>
                    <a:pt x="0" y="711247"/>
                    <a:pt x="0" y="700350"/>
                  </a:cubicBezTo>
                  <a:lnTo>
                    <a:pt x="0" y="19730"/>
                  </a:lnTo>
                  <a:cubicBezTo>
                    <a:pt x="0" y="8833"/>
                    <a:pt x="8833" y="0"/>
                    <a:pt x="19730" y="0"/>
                  </a:cubicBezTo>
                  <a:close/>
                </a:path>
              </a:pathLst>
            </a:custGeom>
            <a:solidFill>
              <a:sysClr val="window" lastClr="FFFFFF">
                <a:lumMod val="85000"/>
              </a:sysClr>
            </a:solidFill>
            <a:ln w="25400" cap="flat" cmpd="sng" algn="ctr">
              <a:noFill/>
              <a:prstDash val="solid"/>
            </a:ln>
            <a:effectLst/>
          </p:spPr>
          <p:txBody>
            <a:bodyPr rtlCol="0" anchor="ctr"/>
            <a:lstStyle/>
            <a:p>
              <a:pPr algn="ctr" fontAlgn="base">
                <a:spcBef>
                  <a:spcPct val="0"/>
                </a:spcBef>
                <a:spcAft>
                  <a:spcPct val="0"/>
                </a:spcAft>
                <a:defRPr/>
              </a:pPr>
              <a:endParaRPr lang="en-US" kern="0">
                <a:solidFill>
                  <a:prstClr val="white"/>
                </a:solidFill>
                <a:latin typeface="Arial"/>
                <a:ea typeface="SimHei"/>
              </a:endParaRPr>
            </a:p>
          </p:txBody>
        </p:sp>
      </p:grpSp>
      <p:sp>
        <p:nvSpPr>
          <p:cNvPr id="18" name="Rectangle 17">
            <a:extLst>
              <a:ext uri="{FF2B5EF4-FFF2-40B4-BE49-F238E27FC236}">
                <a16:creationId xmlns:a16="http://schemas.microsoft.com/office/drawing/2014/main" id="{D792074B-D080-1E09-0ECB-E8FBCAF0F755}"/>
              </a:ext>
            </a:extLst>
          </p:cNvPr>
          <p:cNvSpPr/>
          <p:nvPr/>
        </p:nvSpPr>
        <p:spPr>
          <a:xfrm>
            <a:off x="443750" y="3171544"/>
            <a:ext cx="11654631" cy="1096399"/>
          </a:xfrm>
          <a:prstGeom prst="rect">
            <a:avLst/>
          </a:prstGeom>
          <a:no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1B2DBD7F-85AE-13FF-1E9A-4F092393A39C}"/>
              </a:ext>
            </a:extLst>
          </p:cNvPr>
          <p:cNvSpPr/>
          <p:nvPr/>
        </p:nvSpPr>
        <p:spPr>
          <a:xfrm>
            <a:off x="443750" y="4460710"/>
            <a:ext cx="11654631" cy="1806740"/>
          </a:xfrm>
          <a:prstGeom prst="rect">
            <a:avLst/>
          </a:prstGeom>
          <a:no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extBox 13">
            <a:extLst>
              <a:ext uri="{FF2B5EF4-FFF2-40B4-BE49-F238E27FC236}">
                <a16:creationId xmlns:a16="http://schemas.microsoft.com/office/drawing/2014/main" id="{B11C0AEB-EE03-88D2-605E-940A46DBCDB1}"/>
              </a:ext>
            </a:extLst>
          </p:cNvPr>
          <p:cNvSpPr txBox="1"/>
          <p:nvPr/>
        </p:nvSpPr>
        <p:spPr>
          <a:xfrm>
            <a:off x="780556" y="4605457"/>
            <a:ext cx="10829925" cy="1661993"/>
          </a:xfrm>
          <a:prstGeom prst="rect">
            <a:avLst/>
          </a:prstGeom>
          <a:noFill/>
        </p:spPr>
        <p:txBody>
          <a:bodyPr wrap="square" lIns="0" rtlCol="0">
            <a:spAutoFit/>
          </a:bodyPr>
          <a:lstStyle/>
          <a:p>
            <a:pPr marL="290513" indent="-290513">
              <a:spcAft>
                <a:spcPts val="1200"/>
              </a:spcAft>
              <a:buFont typeface="Arial" panose="020B0604020202020204" pitchFamily="34" charset="0"/>
              <a:buChar char="•"/>
            </a:pPr>
            <a:r>
              <a:rPr lang="en-US" dirty="0"/>
              <a:t>Challenges associated with sustainability and co-financing</a:t>
            </a:r>
          </a:p>
          <a:p>
            <a:pPr marL="290513" indent="-290513">
              <a:spcAft>
                <a:spcPts val="1200"/>
              </a:spcAft>
              <a:buFont typeface="Arial" panose="020B0604020202020204" pitchFamily="34" charset="0"/>
              <a:buChar char="•"/>
            </a:pPr>
            <a:r>
              <a:rPr lang="en-US" sz="1800" dirty="0"/>
              <a:t>Challenges in the universal health care implementation</a:t>
            </a:r>
          </a:p>
          <a:p>
            <a:pPr marL="290513" indent="-290513">
              <a:spcAft>
                <a:spcPts val="1200"/>
              </a:spcAft>
              <a:buFont typeface="Arial" panose="020B0604020202020204" pitchFamily="34" charset="0"/>
              <a:buChar char="•"/>
            </a:pPr>
            <a:r>
              <a:rPr lang="en-US" dirty="0"/>
              <a:t>Challenges on leveraging </a:t>
            </a:r>
            <a:r>
              <a:rPr lang="en-US" sz="1800" dirty="0"/>
              <a:t>partners funding</a:t>
            </a:r>
          </a:p>
          <a:p>
            <a:pPr marL="290513" indent="-290513">
              <a:spcAft>
                <a:spcPts val="1200"/>
              </a:spcAft>
              <a:buFont typeface="Arial" panose="020B0604020202020204" pitchFamily="34" charset="0"/>
              <a:buChar char="•"/>
            </a:pPr>
            <a:r>
              <a:rPr lang="en-US" dirty="0"/>
              <a:t>Challenges in institutional capacity</a:t>
            </a:r>
          </a:p>
        </p:txBody>
      </p:sp>
      <p:sp>
        <p:nvSpPr>
          <p:cNvPr id="7" name="TextBox 6">
            <a:extLst>
              <a:ext uri="{FF2B5EF4-FFF2-40B4-BE49-F238E27FC236}">
                <a16:creationId xmlns:a16="http://schemas.microsoft.com/office/drawing/2014/main" id="{BE6307E0-42CE-FFC3-CFC0-95000CD79971}"/>
              </a:ext>
            </a:extLst>
          </p:cNvPr>
          <p:cNvSpPr txBox="1"/>
          <p:nvPr/>
        </p:nvSpPr>
        <p:spPr>
          <a:xfrm>
            <a:off x="546539" y="3218887"/>
            <a:ext cx="11254715" cy="369332"/>
          </a:xfrm>
          <a:prstGeom prst="rect">
            <a:avLst/>
          </a:prstGeom>
          <a:noFill/>
        </p:spPr>
        <p:txBody>
          <a:bodyPr wrap="square">
            <a:spAutoFit/>
          </a:bodyPr>
          <a:lstStyle/>
          <a:p>
            <a:pPr marL="285750" indent="-285750" algn="just">
              <a:spcBef>
                <a:spcPts val="0"/>
              </a:spcBef>
              <a:buFont typeface="Wingdings" panose="05000000000000000000" pitchFamily="2" charset="2"/>
              <a:buChar char="§"/>
            </a:pPr>
            <a:r>
              <a:rPr lang="en-US" sz="1800" b="1" dirty="0"/>
              <a:t>Challenges in implementing people centered systems for health and maximizing human rights</a:t>
            </a:r>
          </a:p>
        </p:txBody>
      </p:sp>
      <p:sp>
        <p:nvSpPr>
          <p:cNvPr id="10" name="TextBox 9">
            <a:extLst>
              <a:ext uri="{FF2B5EF4-FFF2-40B4-BE49-F238E27FC236}">
                <a16:creationId xmlns:a16="http://schemas.microsoft.com/office/drawing/2014/main" id="{FF66B626-2D84-5C5B-C606-2616FD8B574F}"/>
              </a:ext>
            </a:extLst>
          </p:cNvPr>
          <p:cNvSpPr txBox="1"/>
          <p:nvPr/>
        </p:nvSpPr>
        <p:spPr>
          <a:xfrm>
            <a:off x="546539" y="3635562"/>
            <a:ext cx="11426386" cy="369332"/>
          </a:xfrm>
          <a:prstGeom prst="rect">
            <a:avLst/>
          </a:prstGeom>
          <a:noFill/>
        </p:spPr>
        <p:txBody>
          <a:bodyPr wrap="square">
            <a:spAutoFit/>
          </a:bodyPr>
          <a:lstStyle/>
          <a:p>
            <a:pPr marL="285750" indent="-285750" algn="just">
              <a:buFont typeface="Wingdings" panose="05000000000000000000" pitchFamily="2" charset="2"/>
              <a:buChar char="§"/>
            </a:pPr>
            <a:r>
              <a:rPr lang="en-US" sz="1800" b="1" dirty="0"/>
              <a:t>Challenges associated with sustainability and co-financing</a:t>
            </a:r>
          </a:p>
        </p:txBody>
      </p:sp>
    </p:spTree>
    <p:extLst>
      <p:ext uri="{BB962C8B-B14F-4D97-AF65-F5344CB8AC3E}">
        <p14:creationId xmlns:p14="http://schemas.microsoft.com/office/powerpoint/2010/main" val="374427329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6E66EE26-2E0D-44E7-A0FD-9D7C25304C70}"/>
              </a:ext>
            </a:extLst>
          </p:cNvPr>
          <p:cNvSpPr>
            <a:spLocks noGrp="1"/>
          </p:cNvSpPr>
          <p:nvPr>
            <p:ph type="sldNum" sz="quarter" idx="12"/>
          </p:nvPr>
        </p:nvSpPr>
        <p:spPr/>
        <p:txBody>
          <a:bodyPr/>
          <a:lstStyle/>
          <a:p>
            <a:fld id="{9E2BE927-25C7-4379-86F1-C17ED9D2A7F2}" type="slidenum">
              <a:rPr lang="en-US" smtClean="0"/>
              <a:pPr/>
              <a:t>15</a:t>
            </a:fld>
            <a:endParaRPr lang="en-US"/>
          </a:p>
        </p:txBody>
      </p:sp>
      <p:sp>
        <p:nvSpPr>
          <p:cNvPr id="46" name="Title 2">
            <a:extLst>
              <a:ext uri="{FF2B5EF4-FFF2-40B4-BE49-F238E27FC236}">
                <a16:creationId xmlns:a16="http://schemas.microsoft.com/office/drawing/2014/main" id="{C4499616-5055-9018-E430-5A66D5EEF24A}"/>
              </a:ext>
            </a:extLst>
          </p:cNvPr>
          <p:cNvSpPr>
            <a:spLocks noGrp="1"/>
          </p:cNvSpPr>
          <p:nvPr>
            <p:ph type="title"/>
          </p:nvPr>
        </p:nvSpPr>
        <p:spPr>
          <a:xfrm>
            <a:off x="146639" y="112296"/>
            <a:ext cx="8496617" cy="468000"/>
          </a:xfrm>
        </p:spPr>
        <p:txBody>
          <a:bodyPr/>
          <a:lstStyle/>
          <a:p>
            <a:r>
              <a:rPr lang="en-US" sz="2800" dirty="0"/>
              <a:t>Good practices observed</a:t>
            </a:r>
          </a:p>
        </p:txBody>
      </p:sp>
      <p:cxnSp>
        <p:nvCxnSpPr>
          <p:cNvPr id="4" name="Straight Connector 3">
            <a:extLst>
              <a:ext uri="{FF2B5EF4-FFF2-40B4-BE49-F238E27FC236}">
                <a16:creationId xmlns:a16="http://schemas.microsoft.com/office/drawing/2014/main" id="{FF1796B7-6624-AA71-DF6B-77E72F4841F0}"/>
              </a:ext>
            </a:extLst>
          </p:cNvPr>
          <p:cNvCxnSpPr>
            <a:cxnSpLocks/>
          </p:cNvCxnSpPr>
          <p:nvPr/>
        </p:nvCxnSpPr>
        <p:spPr>
          <a:xfrm>
            <a:off x="0" y="580296"/>
            <a:ext cx="12191364" cy="0"/>
          </a:xfrm>
          <a:prstGeom prst="line">
            <a:avLst/>
          </a:prstGeom>
          <a:ln w="285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FB61AEF7-E190-24FF-B9F9-0BB71EF5C7C9}"/>
              </a:ext>
            </a:extLst>
          </p:cNvPr>
          <p:cNvSpPr txBox="1"/>
          <p:nvPr/>
        </p:nvSpPr>
        <p:spPr>
          <a:xfrm>
            <a:off x="72061" y="889090"/>
            <a:ext cx="6216979" cy="5216813"/>
          </a:xfrm>
          <a:prstGeom prst="rect">
            <a:avLst/>
          </a:prstGeom>
          <a:noFill/>
        </p:spPr>
        <p:txBody>
          <a:bodyPr wrap="square">
            <a:spAutoFit/>
          </a:bodyPr>
          <a:lstStyle/>
          <a:p>
            <a:pPr marL="285750" indent="-285750" algn="just" defTabSz="457200">
              <a:spcAft>
                <a:spcPts val="3000"/>
              </a:spcAft>
              <a:buFont typeface="Wingdings" panose="05000000000000000000" pitchFamily="2" charset="2"/>
              <a:buChar char="§"/>
            </a:pPr>
            <a:r>
              <a:rPr lang="en-GB" sz="1600" dirty="0"/>
              <a:t>T</a:t>
            </a:r>
            <a:r>
              <a:rPr lang="en-GB" sz="1600" dirty="0">
                <a:solidFill>
                  <a:schemeClr val="tx1"/>
                </a:solidFill>
              </a:rPr>
              <a:t>he </a:t>
            </a:r>
            <a:r>
              <a:rPr lang="en-GB" sz="1600" b="1" dirty="0">
                <a:solidFill>
                  <a:schemeClr val="tx1"/>
                </a:solidFill>
              </a:rPr>
              <a:t>disbursement of funding and verification through the National Health Insurance Bureau </a:t>
            </a:r>
            <a:r>
              <a:rPr lang="en-GB" sz="1600" dirty="0">
                <a:solidFill>
                  <a:schemeClr val="tx1"/>
                </a:solidFill>
              </a:rPr>
              <a:t>(NHIB). This approach aims to explore ways to enhance the timely disbursement of funds and potentially pave the way for the absorption of these programs in the future. Implementing this approach effectively necessitates significant capacity building within the NHIB.</a:t>
            </a:r>
          </a:p>
          <a:p>
            <a:pPr marL="285750" indent="-285750" algn="just" defTabSz="457200">
              <a:spcAft>
                <a:spcPts val="3000"/>
              </a:spcAft>
              <a:buFont typeface="Wingdings" panose="05000000000000000000" pitchFamily="2" charset="2"/>
              <a:buChar char="§"/>
            </a:pPr>
            <a:r>
              <a:rPr lang="en-GB" sz="1600" dirty="0">
                <a:solidFill>
                  <a:schemeClr val="tx1"/>
                </a:solidFill>
              </a:rPr>
              <a:t>The </a:t>
            </a:r>
            <a:r>
              <a:rPr lang="en-GB" sz="1600" b="1" dirty="0">
                <a:solidFill>
                  <a:schemeClr val="tx1"/>
                </a:solidFill>
              </a:rPr>
              <a:t>HANSA 1 experience underscores the focus on system building in HANSA 2</a:t>
            </a:r>
            <a:r>
              <a:rPr lang="en-GB" sz="1600" dirty="0">
                <a:solidFill>
                  <a:schemeClr val="tx1"/>
                </a:solidFill>
              </a:rPr>
              <a:t>, employing a combination of input-based and output-based financing. This strategic shift aims to address the systemic limitations, ensuring a more effective and sustainable integration of disease-specific programs within the broader healthcare framework.</a:t>
            </a:r>
          </a:p>
          <a:p>
            <a:pPr marL="285750" indent="-285750" algn="just" defTabSz="457200">
              <a:spcAft>
                <a:spcPts val="3000"/>
              </a:spcAft>
              <a:buFont typeface="Wingdings" panose="05000000000000000000" pitchFamily="2" charset="2"/>
              <a:buChar char="§"/>
            </a:pPr>
            <a:r>
              <a:rPr lang="en-US" sz="1600" b="1" kern="1200" dirty="0">
                <a:effectLst/>
                <a:latin typeface="Arial"/>
                <a:ea typeface="+mn-ea"/>
                <a:cs typeface="Arial"/>
              </a:rPr>
              <a:t>HANSA financing</a:t>
            </a:r>
            <a:r>
              <a:rPr lang="en-US" sz="1600" kern="1200" dirty="0">
                <a:effectLst/>
                <a:latin typeface="Arial"/>
                <a:ea typeface="+mn-ea"/>
                <a:cs typeface="Arial"/>
              </a:rPr>
              <a:t> is based on the percentage of achievement of targets</a:t>
            </a:r>
          </a:p>
          <a:p>
            <a:pPr marL="285750" indent="-285750" algn="just" defTabSz="457200">
              <a:buFont typeface="Wingdings" panose="05000000000000000000" pitchFamily="2" charset="2"/>
              <a:buChar char="§"/>
            </a:pPr>
            <a:endParaRPr lang="en-GB" sz="1600" dirty="0">
              <a:solidFill>
                <a:schemeClr val="tx1"/>
              </a:solidFill>
            </a:endParaRPr>
          </a:p>
          <a:p>
            <a:pPr marL="285750" indent="-285750">
              <a:spcAft>
                <a:spcPts val="3000"/>
              </a:spcAft>
              <a:buFont typeface="Wingdings" panose="05000000000000000000" pitchFamily="2" charset="2"/>
              <a:buChar char="§"/>
              <a:defRPr/>
            </a:pPr>
            <a:endParaRPr lang="en-US" sz="1800" dirty="0">
              <a:latin typeface="Arial" panose="020B0604020202020204" pitchFamily="34" charset="0"/>
              <a:cs typeface="Arial" panose="020B0604020202020204" pitchFamily="34" charset="0"/>
            </a:endParaRPr>
          </a:p>
        </p:txBody>
      </p:sp>
      <p:sp>
        <p:nvSpPr>
          <p:cNvPr id="5" name="TextBox 4">
            <a:extLst>
              <a:ext uri="{FF2B5EF4-FFF2-40B4-BE49-F238E27FC236}">
                <a16:creationId xmlns:a16="http://schemas.microsoft.com/office/drawing/2014/main" id="{18AD99EB-D048-D69C-8CB5-81AB508A02AF}"/>
              </a:ext>
            </a:extLst>
          </p:cNvPr>
          <p:cNvSpPr txBox="1"/>
          <p:nvPr/>
        </p:nvSpPr>
        <p:spPr>
          <a:xfrm>
            <a:off x="6289040" y="889089"/>
            <a:ext cx="5712460" cy="4308872"/>
          </a:xfrm>
          <a:prstGeom prst="rect">
            <a:avLst/>
          </a:prstGeom>
          <a:noFill/>
        </p:spPr>
        <p:txBody>
          <a:bodyPr wrap="square">
            <a:spAutoFit/>
          </a:bodyPr>
          <a:lstStyle/>
          <a:p>
            <a:pPr marL="283464" indent="-283464" algn="just" fontAlgn="b">
              <a:spcAft>
                <a:spcPts val="2400"/>
              </a:spcAft>
              <a:buFont typeface="Wingdings" panose="05000000000000000000" pitchFamily="2" charset="2"/>
              <a:buChar char="§"/>
              <a:defRPr/>
            </a:pPr>
            <a:r>
              <a:rPr lang="en-US" sz="1600" b="1" dirty="0">
                <a:latin typeface="Arial" panose="020B0604020202020204" pitchFamily="34" charset="0"/>
                <a:cs typeface="Arial" panose="020B0604020202020204" pitchFamily="34" charset="0"/>
              </a:rPr>
              <a:t>Pooled funding allowed for financial sustainability </a:t>
            </a:r>
            <a:r>
              <a:rPr lang="en-US" sz="1600" dirty="0">
                <a:latin typeface="Arial" panose="020B0604020202020204" pitchFamily="34" charset="0"/>
                <a:cs typeface="Arial" panose="020B0604020202020204" pitchFamily="34" charset="0"/>
              </a:rPr>
              <a:t>to fill gaps for future donor transition</a:t>
            </a:r>
            <a:endParaRPr lang="en-US" sz="1600" i="0" u="none" strike="noStrike" baseline="0" dirty="0">
              <a:latin typeface="Arial" panose="020B0604020202020204" pitchFamily="34" charset="0"/>
              <a:cs typeface="Arial" panose="020B0604020202020204" pitchFamily="34" charset="0"/>
            </a:endParaRPr>
          </a:p>
          <a:p>
            <a:pPr marL="283464" indent="-283464" algn="just" fontAlgn="b">
              <a:spcAft>
                <a:spcPts val="2400"/>
              </a:spcAft>
              <a:buFont typeface="Wingdings" panose="05000000000000000000" pitchFamily="2" charset="2"/>
              <a:buChar char="§"/>
              <a:defRPr/>
            </a:pPr>
            <a:r>
              <a:rPr lang="en-US" sz="1600" b="1" i="0" u="none" strike="noStrike" baseline="0" dirty="0">
                <a:latin typeface="Arial" panose="020B0604020202020204" pitchFamily="34" charset="0"/>
                <a:cs typeface="Arial" panose="020B0604020202020204" pitchFamily="34" charset="0"/>
              </a:rPr>
              <a:t>Reduction of vertical approaches to programs</a:t>
            </a:r>
            <a:r>
              <a:rPr lang="en-US" sz="1600" i="0" u="none" strike="noStrike" baseline="0" dirty="0">
                <a:latin typeface="Arial" panose="020B0604020202020204" pitchFamily="34" charset="0"/>
                <a:cs typeface="Arial" panose="020B0604020202020204" pitchFamily="34" charset="0"/>
              </a:rPr>
              <a:t>, e.g. integrated outreach to KVPs, inclusion of HIV/TB services in PHC, integrated use of HMIS across diseases. </a:t>
            </a:r>
          </a:p>
          <a:p>
            <a:pPr marL="283464" indent="-283464" algn="just" fontAlgn="b">
              <a:spcAft>
                <a:spcPts val="2400"/>
              </a:spcAft>
              <a:buFont typeface="Wingdings" panose="05000000000000000000" pitchFamily="2" charset="2"/>
              <a:buChar char="§"/>
              <a:defRPr/>
            </a:pPr>
            <a:r>
              <a:rPr lang="en-US" sz="1600" b="1" i="0" u="none" strike="noStrike" baseline="0" dirty="0">
                <a:latin typeface="Arial" panose="020B0604020202020204" pitchFamily="34" charset="0"/>
                <a:cs typeface="Arial" panose="020B0604020202020204" pitchFamily="34" charset="0"/>
              </a:rPr>
              <a:t>Consolidated support to strengthening national systems </a:t>
            </a:r>
            <a:r>
              <a:rPr lang="en-US" sz="1600" i="0" u="none" strike="noStrike" baseline="0" dirty="0">
                <a:latin typeface="Arial" panose="020B0604020202020204" pitchFamily="34" charset="0"/>
                <a:cs typeface="Arial" panose="020B0604020202020204" pitchFamily="34" charset="0"/>
              </a:rPr>
              <a:t>(PFM, HMIS) and RSSH with wide participation of global health partners</a:t>
            </a:r>
          </a:p>
          <a:p>
            <a:pPr marL="283464" indent="-283464" algn="just" fontAlgn="b">
              <a:spcAft>
                <a:spcPts val="2400"/>
              </a:spcAft>
              <a:buFont typeface="Wingdings" panose="05000000000000000000" pitchFamily="2" charset="2"/>
              <a:buChar char="§"/>
              <a:defRPr/>
            </a:pPr>
            <a:r>
              <a:rPr lang="en-US" sz="1600" b="1" dirty="0">
                <a:latin typeface="Arial" panose="020B0604020202020204" pitchFamily="34" charset="0"/>
                <a:cs typeface="Arial" panose="020B0604020202020204" pitchFamily="34" charset="0"/>
              </a:rPr>
              <a:t>Focus on Result</a:t>
            </a:r>
            <a:r>
              <a:rPr lang="en-US" sz="1600" b="1" dirty="0">
                <a:effectLst/>
                <a:latin typeface="Arial" panose="020B0604020202020204" pitchFamily="34" charset="0"/>
                <a:ea typeface="Calibri" panose="020F0502020204030204" pitchFamily="34" charset="0"/>
                <a:cs typeface="Arial" panose="020B0604020202020204" pitchFamily="34" charset="0"/>
              </a:rPr>
              <a:t> Based Funding (RBF) </a:t>
            </a:r>
            <a:r>
              <a:rPr lang="en-US" sz="1600" dirty="0">
                <a:effectLst/>
                <a:latin typeface="Arial" panose="020B0604020202020204" pitchFamily="34" charset="0"/>
                <a:ea typeface="Calibri" panose="020F0502020204030204" pitchFamily="34" charset="0"/>
                <a:cs typeface="Arial" panose="020B0604020202020204" pitchFamily="34" charset="0"/>
              </a:rPr>
              <a:t>shifting the approach to managing of available funding to create more impact</a:t>
            </a:r>
          </a:p>
          <a:p>
            <a:pPr marL="283464" indent="-283464" algn="just" fontAlgn="b">
              <a:spcAft>
                <a:spcPts val="2400"/>
              </a:spcAft>
              <a:buFont typeface="Wingdings" panose="05000000000000000000" pitchFamily="2" charset="2"/>
              <a:buChar char="§"/>
              <a:defRPr/>
            </a:pPr>
            <a:endParaRPr lang="en-US" sz="1800" dirty="0">
              <a:effectLst/>
              <a:latin typeface="Arial" panose="020B0604020202020204" pitchFamily="34" charset="0"/>
              <a:ea typeface="Calibri" panose="020F0502020204030204" pitchFamily="34" charset="0"/>
              <a:cs typeface="Arial" panose="020B0604020202020204" pitchFamily="34" charset="0"/>
            </a:endParaRPr>
          </a:p>
        </p:txBody>
      </p:sp>
    </p:spTree>
    <p:custDataLst>
      <p:custData r:id="rId1"/>
      <p:custData r:id="rId2"/>
    </p:custDataLst>
    <p:extLst>
      <p:ext uri="{BB962C8B-B14F-4D97-AF65-F5344CB8AC3E}">
        <p14:creationId xmlns:p14="http://schemas.microsoft.com/office/powerpoint/2010/main" val="218190538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6E66EE26-2E0D-44E7-A0FD-9D7C25304C70}"/>
              </a:ext>
            </a:extLst>
          </p:cNvPr>
          <p:cNvSpPr>
            <a:spLocks noGrp="1"/>
          </p:cNvSpPr>
          <p:nvPr>
            <p:ph type="sldNum" sz="quarter" idx="12"/>
          </p:nvPr>
        </p:nvSpPr>
        <p:spPr/>
        <p:txBody>
          <a:bodyPr/>
          <a:lstStyle/>
          <a:p>
            <a:fld id="{9E2BE927-25C7-4379-86F1-C17ED9D2A7F2}" type="slidenum">
              <a:rPr lang="en-US" smtClean="0"/>
              <a:pPr/>
              <a:t>16</a:t>
            </a:fld>
            <a:endParaRPr lang="en-US"/>
          </a:p>
        </p:txBody>
      </p:sp>
      <p:sp>
        <p:nvSpPr>
          <p:cNvPr id="46" name="Title 2">
            <a:extLst>
              <a:ext uri="{FF2B5EF4-FFF2-40B4-BE49-F238E27FC236}">
                <a16:creationId xmlns:a16="http://schemas.microsoft.com/office/drawing/2014/main" id="{C4499616-5055-9018-E430-5A66D5EEF24A}"/>
              </a:ext>
            </a:extLst>
          </p:cNvPr>
          <p:cNvSpPr>
            <a:spLocks noGrp="1"/>
          </p:cNvSpPr>
          <p:nvPr>
            <p:ph type="title"/>
          </p:nvPr>
        </p:nvSpPr>
        <p:spPr>
          <a:xfrm>
            <a:off x="146639" y="112296"/>
            <a:ext cx="11805875" cy="468000"/>
          </a:xfrm>
        </p:spPr>
        <p:txBody>
          <a:bodyPr/>
          <a:lstStyle/>
          <a:p>
            <a:r>
              <a:rPr lang="en-US" sz="2800" dirty="0"/>
              <a:t>Sustainability and co-financing</a:t>
            </a:r>
          </a:p>
        </p:txBody>
      </p:sp>
      <p:cxnSp>
        <p:nvCxnSpPr>
          <p:cNvPr id="4" name="Straight Connector 3">
            <a:extLst>
              <a:ext uri="{FF2B5EF4-FFF2-40B4-BE49-F238E27FC236}">
                <a16:creationId xmlns:a16="http://schemas.microsoft.com/office/drawing/2014/main" id="{FF1796B7-6624-AA71-DF6B-77E72F4841F0}"/>
              </a:ext>
            </a:extLst>
          </p:cNvPr>
          <p:cNvCxnSpPr>
            <a:cxnSpLocks/>
          </p:cNvCxnSpPr>
          <p:nvPr/>
        </p:nvCxnSpPr>
        <p:spPr>
          <a:xfrm>
            <a:off x="0" y="580296"/>
            <a:ext cx="12191364" cy="0"/>
          </a:xfrm>
          <a:prstGeom prst="line">
            <a:avLst/>
          </a:prstGeom>
          <a:ln w="285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FB61AEF7-E190-24FF-B9F9-0BB71EF5C7C9}"/>
              </a:ext>
            </a:extLst>
          </p:cNvPr>
          <p:cNvSpPr txBox="1"/>
          <p:nvPr/>
        </p:nvSpPr>
        <p:spPr>
          <a:xfrm>
            <a:off x="146638" y="1187192"/>
            <a:ext cx="6445548" cy="5570756"/>
          </a:xfrm>
          <a:prstGeom prst="rect">
            <a:avLst/>
          </a:prstGeom>
          <a:solidFill>
            <a:schemeClr val="bg1"/>
          </a:solidFill>
        </p:spPr>
        <p:txBody>
          <a:bodyPr wrap="square">
            <a:spAutoFit/>
          </a:bodyPr>
          <a:lstStyle/>
          <a:p>
            <a:pPr marL="285750" indent="-285750" algn="just" defTabSz="457200">
              <a:buFont typeface="Wingdings" panose="05000000000000000000" pitchFamily="2" charset="2"/>
              <a:buChar char="§"/>
            </a:pPr>
            <a:r>
              <a:rPr lang="en-GB" sz="1600" b="1" dirty="0">
                <a:solidFill>
                  <a:schemeClr val="tx1"/>
                </a:solidFill>
              </a:rPr>
              <a:t>Limited integration of TB and HIV in NHI packages</a:t>
            </a:r>
            <a:r>
              <a:rPr lang="en-GB" sz="1600" dirty="0">
                <a:solidFill>
                  <a:schemeClr val="tx1"/>
                </a:solidFill>
              </a:rPr>
              <a:t> </a:t>
            </a:r>
          </a:p>
          <a:p>
            <a:pPr marL="557784" lvl="1" indent="-285750" algn="just" defTabSz="457200">
              <a:spcAft>
                <a:spcPts val="1200"/>
              </a:spcAft>
              <a:buFont typeface="Arial" panose="020B0604020202020204" pitchFamily="34" charset="0"/>
              <a:buChar char="•"/>
            </a:pPr>
            <a:r>
              <a:rPr lang="en-GB" sz="1600" dirty="0">
                <a:solidFill>
                  <a:schemeClr val="tx1"/>
                </a:solidFill>
              </a:rPr>
              <a:t>Further integration of disease-specific programs into the National Health Insurance (NHI) scheme appears unpromising given the current economic climate in the country</a:t>
            </a:r>
          </a:p>
          <a:p>
            <a:pPr marL="557784" lvl="1" indent="-285750" algn="just" defTabSz="457200">
              <a:spcAft>
                <a:spcPts val="1200"/>
              </a:spcAft>
              <a:buFont typeface="Arial" panose="020B0604020202020204" pitchFamily="34" charset="0"/>
              <a:buChar char="•"/>
            </a:pPr>
            <a:r>
              <a:rPr lang="en-GB" sz="1600" dirty="0">
                <a:solidFill>
                  <a:schemeClr val="tx1"/>
                </a:solidFill>
              </a:rPr>
              <a:t>The overall macroeconomic situation is dire, marked by a lack of foreign reserves to import essential goods, including medicines.  </a:t>
            </a:r>
          </a:p>
          <a:p>
            <a:pPr marL="557784" lvl="1" indent="-285750" algn="just" defTabSz="457200">
              <a:buFont typeface="Arial" panose="020B0604020202020204" pitchFamily="34" charset="0"/>
              <a:buChar char="•"/>
            </a:pPr>
            <a:r>
              <a:rPr lang="en-GB" sz="1600" dirty="0">
                <a:solidFill>
                  <a:schemeClr val="tx1"/>
                </a:solidFill>
              </a:rPr>
              <a:t>Impact of the gaps are</a:t>
            </a:r>
          </a:p>
          <a:p>
            <a:pPr marL="742950" lvl="1" indent="-285750" algn="just" defTabSz="457200">
              <a:buFont typeface="Courier New" panose="02070309020205020404" pitchFamily="49" charset="0"/>
              <a:buChar char="o"/>
            </a:pPr>
            <a:r>
              <a:rPr lang="en-US" sz="1600" dirty="0">
                <a:latin typeface="Arial" panose="020B0604020202020204" pitchFamily="34" charset="0"/>
                <a:cs typeface="Arial" panose="020B0604020202020204" pitchFamily="34" charset="0"/>
              </a:rPr>
              <a:t>7% increase in HIV cases in 2022 compared to 2021. </a:t>
            </a:r>
            <a:endParaRPr lang="en-GB" sz="1600" dirty="0">
              <a:latin typeface="Arial" panose="020B0604020202020204" pitchFamily="34" charset="0"/>
              <a:cs typeface="Arial" panose="020B0604020202020204" pitchFamily="34" charset="0"/>
            </a:endParaRPr>
          </a:p>
          <a:p>
            <a:pPr marL="742950" lvl="1" indent="-285750" algn="just" defTabSz="457200">
              <a:buFont typeface="Courier New" panose="02070309020205020404" pitchFamily="49" charset="0"/>
              <a:buChar char="o"/>
            </a:pPr>
            <a:r>
              <a:rPr lang="en-US" sz="1600" dirty="0">
                <a:latin typeface="Arial" panose="020B0604020202020204" pitchFamily="34" charset="0"/>
                <a:cs typeface="Arial" panose="020B0604020202020204" pitchFamily="34" charset="0"/>
              </a:rPr>
              <a:t>PLHIV that know their status 12,592 – around 3,500 are undiagnosed (27%)</a:t>
            </a:r>
          </a:p>
          <a:p>
            <a:pPr marL="742950" lvl="1" indent="-285750" algn="just" defTabSz="457200">
              <a:buFont typeface="Courier New" panose="02070309020205020404" pitchFamily="49" charset="0"/>
              <a:buChar char="o"/>
            </a:pPr>
            <a:r>
              <a:rPr lang="en-US" sz="1600" dirty="0">
                <a:latin typeface="Arial" panose="020B0604020202020204" pitchFamily="34" charset="0"/>
                <a:cs typeface="Arial" panose="020B0604020202020204" pitchFamily="34" charset="0"/>
              </a:rPr>
              <a:t>1 in 5 ART patients are not receiving VL testing annually</a:t>
            </a:r>
          </a:p>
          <a:p>
            <a:pPr marL="742950" lvl="1" indent="-285750" algn="just" defTabSz="457200">
              <a:buFont typeface="Courier New" panose="02070309020205020404" pitchFamily="49" charset="0"/>
              <a:buChar char="o"/>
            </a:pPr>
            <a:r>
              <a:rPr lang="en-US" sz="1600" dirty="0">
                <a:latin typeface="Arial" panose="020B0604020202020204" pitchFamily="34" charset="0"/>
                <a:cs typeface="Arial" panose="020B0604020202020204" pitchFamily="34" charset="0"/>
              </a:rPr>
              <a:t>Minimal emphasis at the HFs for HIV testing and other services</a:t>
            </a:r>
          </a:p>
          <a:p>
            <a:pPr lvl="1" algn="just" defTabSz="457200"/>
            <a:endParaRPr lang="en-US" sz="1600" dirty="0">
              <a:latin typeface="Arial" panose="020B0604020202020204" pitchFamily="34" charset="0"/>
              <a:cs typeface="Arial" panose="020B0604020202020204" pitchFamily="34" charset="0"/>
              <a:sym typeface="Wingdings" panose="05000000000000000000" pitchFamily="2" charset="2"/>
            </a:endParaRPr>
          </a:p>
          <a:p>
            <a:pPr marL="285750" indent="-285750" algn="just" defTabSz="457200">
              <a:buFont typeface="Wingdings" panose="05000000000000000000" pitchFamily="2" charset="2"/>
              <a:buChar char="§"/>
            </a:pPr>
            <a:r>
              <a:rPr lang="en-US" sz="1600" b="1" dirty="0"/>
              <a:t>Most TB services are not included within NHI benefit packages </a:t>
            </a:r>
            <a:r>
              <a:rPr lang="en-US" sz="1600" dirty="0"/>
              <a:t>(except TB screening)</a:t>
            </a:r>
          </a:p>
          <a:p>
            <a:pPr marL="285750" indent="-285750" algn="just" defTabSz="457200">
              <a:buFont typeface="Wingdings" panose="05000000000000000000" pitchFamily="2" charset="2"/>
              <a:buChar char="§"/>
            </a:pPr>
            <a:endParaRPr lang="en-US" sz="1600" dirty="0"/>
          </a:p>
          <a:p>
            <a:pPr marL="285750" indent="-285750" algn="just" defTabSz="457200">
              <a:buFont typeface="Wingdings" panose="05000000000000000000" pitchFamily="2" charset="2"/>
              <a:buChar char="§"/>
            </a:pPr>
            <a:r>
              <a:rPr kumimoji="0" lang="en-US" sz="1600" b="1" i="0" u="none" kern="1200" cap="none" spc="0" normalizeH="0" baseline="0" noProof="0" dirty="0">
                <a:ln>
                  <a:noFill/>
                </a:ln>
                <a:effectLst/>
                <a:uLnTx/>
                <a:uFillTx/>
                <a:latin typeface="Arial"/>
                <a:ea typeface="+mn-ea"/>
                <a:cs typeface="Arial"/>
              </a:rPr>
              <a:t>Lack of Integration of Civil Society Organizations’ (CSOs) funding into public finance management systems </a:t>
            </a:r>
            <a:r>
              <a:rPr kumimoji="0" lang="en-US" sz="1600" b="0" i="0" u="none" kern="1200" cap="none" spc="0" normalizeH="0" baseline="0" noProof="0" dirty="0">
                <a:ln>
                  <a:noFill/>
                </a:ln>
                <a:effectLst/>
                <a:uLnTx/>
                <a:uFillTx/>
                <a:latin typeface="Arial"/>
                <a:ea typeface="+mn-ea"/>
                <a:cs typeface="Arial"/>
              </a:rPr>
              <a:t>for long-term sustainability </a:t>
            </a:r>
            <a:endParaRPr kumimoji="0" lang="en-US" sz="1600" b="0" i="0" u="none" kern="1200" cap="none" spc="0" normalizeH="0" baseline="0" noProof="0" dirty="0">
              <a:ln>
                <a:noFill/>
              </a:ln>
              <a:effectLst/>
              <a:uLnTx/>
              <a:uFillTx/>
              <a:latin typeface="Arial"/>
              <a:ea typeface="+mn-ea"/>
              <a:cs typeface="+mn-cs"/>
            </a:endParaRPr>
          </a:p>
        </p:txBody>
      </p:sp>
      <p:sp>
        <p:nvSpPr>
          <p:cNvPr id="5" name="TextBox 4">
            <a:extLst>
              <a:ext uri="{FF2B5EF4-FFF2-40B4-BE49-F238E27FC236}">
                <a16:creationId xmlns:a16="http://schemas.microsoft.com/office/drawing/2014/main" id="{25A1C8D7-FE1E-2102-5306-EE31E52824AB}"/>
              </a:ext>
            </a:extLst>
          </p:cNvPr>
          <p:cNvSpPr txBox="1"/>
          <p:nvPr/>
        </p:nvSpPr>
        <p:spPr>
          <a:xfrm>
            <a:off x="146638" y="767486"/>
            <a:ext cx="11541306" cy="369332"/>
          </a:xfrm>
          <a:prstGeom prst="rect">
            <a:avLst/>
          </a:prstGeom>
          <a:noFill/>
        </p:spPr>
        <p:txBody>
          <a:bodyPr wrap="square">
            <a:spAutoFit/>
          </a:bodyPr>
          <a:lstStyle/>
          <a:p>
            <a:pPr marL="290513" indent="-290513"/>
            <a:r>
              <a:rPr lang="en-US" dirty="0">
                <a:latin typeface="+mj-lt"/>
                <a:ea typeface="+mj-ea"/>
                <a:cs typeface="+mj-cs"/>
              </a:rPr>
              <a:t>1. Challenges associated with sustainability and co-financing</a:t>
            </a:r>
          </a:p>
        </p:txBody>
      </p:sp>
      <p:sp>
        <p:nvSpPr>
          <p:cNvPr id="7" name="TextBox 6">
            <a:extLst>
              <a:ext uri="{FF2B5EF4-FFF2-40B4-BE49-F238E27FC236}">
                <a16:creationId xmlns:a16="http://schemas.microsoft.com/office/drawing/2014/main" id="{906C3CAE-38C3-DAF4-0F30-EA7E55E68540}"/>
              </a:ext>
            </a:extLst>
          </p:cNvPr>
          <p:cNvSpPr txBox="1"/>
          <p:nvPr/>
        </p:nvSpPr>
        <p:spPr>
          <a:xfrm>
            <a:off x="6592186" y="1187192"/>
            <a:ext cx="5360328" cy="5216813"/>
          </a:xfrm>
          <a:prstGeom prst="rect">
            <a:avLst/>
          </a:prstGeom>
          <a:solidFill>
            <a:schemeClr val="bg1"/>
          </a:solidFill>
        </p:spPr>
        <p:txBody>
          <a:bodyPr wrap="square">
            <a:spAutoFit/>
          </a:bodyPr>
          <a:lstStyle/>
          <a:p>
            <a:pPr marL="283464" lvl="1" indent="-285750" algn="just" defTabSz="457200">
              <a:spcAft>
                <a:spcPts val="1800"/>
              </a:spcAft>
              <a:buSzPct val="100000"/>
              <a:buFont typeface="Wingdings" panose="05000000000000000000" pitchFamily="2" charset="2"/>
              <a:buChar char="§"/>
              <a:defRPr/>
            </a:pPr>
            <a:r>
              <a:rPr lang="en-GB" sz="1600" dirty="0">
                <a:solidFill>
                  <a:schemeClr val="tx1"/>
                </a:solidFill>
              </a:rPr>
              <a:t>In retrospect, during the initial design phase of HANSA, there was a crucial need to assess the system's capacity to accommodate the implementation of intended activities. Attempts to integrate programs with Primary Health Care (PHC) was limited due to the constraints in funding streams and </a:t>
            </a:r>
            <a:r>
              <a:rPr lang="en-GB" sz="1600" dirty="0"/>
              <a:t>other factors including </a:t>
            </a:r>
            <a:r>
              <a:rPr lang="en-GB" sz="1600" dirty="0">
                <a:solidFill>
                  <a:schemeClr val="tx1"/>
                </a:solidFill>
              </a:rPr>
              <a:t>low capacity, skills and practice in TB services at PHC level</a:t>
            </a:r>
            <a:endParaRPr lang="en-GB" sz="1600" dirty="0"/>
          </a:p>
          <a:p>
            <a:pPr marL="283464" lvl="1" indent="-285750" algn="just" defTabSz="457200">
              <a:spcAft>
                <a:spcPts val="1800"/>
              </a:spcAft>
              <a:buSzPct val="100000"/>
              <a:buFont typeface="Wingdings" panose="05000000000000000000" pitchFamily="2" charset="2"/>
              <a:buChar char="§"/>
              <a:defRPr/>
            </a:pPr>
            <a:r>
              <a:rPr lang="en-US" sz="1600" b="1" dirty="0">
                <a:latin typeface="Arial"/>
                <a:cs typeface="Arial"/>
              </a:rPr>
              <a:t>Country is unable to meet co-financing commitments </a:t>
            </a:r>
            <a:r>
              <a:rPr lang="en-US" sz="1600" dirty="0">
                <a:latin typeface="Arial"/>
                <a:cs typeface="Arial"/>
              </a:rPr>
              <a:t>due to the macro economic situation in the country. 2021 – 17% and 2022 – 36% not fulfilled</a:t>
            </a:r>
          </a:p>
          <a:p>
            <a:pPr marL="283464" lvl="1" indent="-285750" algn="just" defTabSz="457200">
              <a:spcAft>
                <a:spcPts val="1800"/>
              </a:spcAft>
              <a:buSzPct val="100000"/>
              <a:buFont typeface="Wingdings" panose="05000000000000000000" pitchFamily="2" charset="2"/>
              <a:buChar char="§"/>
              <a:defRPr/>
            </a:pPr>
            <a:r>
              <a:rPr lang="en-US" sz="1600" b="1" dirty="0">
                <a:latin typeface="Arial" panose="020B0604020202020204" pitchFamily="34" charset="0"/>
                <a:cs typeface="Arial" panose="020B0604020202020204" pitchFamily="34" charset="0"/>
              </a:rPr>
              <a:t>Lack of a clear linkage between financial commitments and programmatic priorities</a:t>
            </a:r>
            <a:endParaRPr lang="en-US" sz="1600" dirty="0">
              <a:latin typeface="Arial"/>
              <a:cs typeface="Arial"/>
            </a:endParaRPr>
          </a:p>
          <a:p>
            <a:pPr marL="283464" lvl="1" indent="-285750" algn="just" defTabSz="457200">
              <a:buSzPct val="100000"/>
              <a:buFont typeface="Wingdings" panose="05000000000000000000" pitchFamily="2" charset="2"/>
              <a:buChar char="§"/>
              <a:defRPr/>
            </a:pPr>
            <a:r>
              <a:rPr lang="en-US" sz="1600" b="1" dirty="0">
                <a:latin typeface="Arial"/>
                <a:cs typeface="Arial"/>
              </a:rPr>
              <a:t>Debt to GDP ratio as reported by IMF is 129% </a:t>
            </a:r>
            <a:r>
              <a:rPr lang="en-US" sz="1600" dirty="0">
                <a:latin typeface="Arial"/>
                <a:cs typeface="Arial"/>
              </a:rPr>
              <a:t>resulting in government reducing its financial commitment. For example, in GC 6 TB financial commitment reduced from US$ 1.57M in GC 5 to US$ 1.29m</a:t>
            </a:r>
          </a:p>
        </p:txBody>
      </p:sp>
    </p:spTree>
    <p:custDataLst>
      <p:custData r:id="rId1"/>
      <p:custData r:id="rId2"/>
    </p:custDataLst>
    <p:extLst>
      <p:ext uri="{BB962C8B-B14F-4D97-AF65-F5344CB8AC3E}">
        <p14:creationId xmlns:p14="http://schemas.microsoft.com/office/powerpoint/2010/main" val="289572352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6E66EE26-2E0D-44E7-A0FD-9D7C25304C70}"/>
              </a:ext>
            </a:extLst>
          </p:cNvPr>
          <p:cNvSpPr>
            <a:spLocks noGrp="1"/>
          </p:cNvSpPr>
          <p:nvPr>
            <p:ph type="sldNum" sz="quarter" idx="12"/>
          </p:nvPr>
        </p:nvSpPr>
        <p:spPr/>
        <p:txBody>
          <a:bodyPr/>
          <a:lstStyle/>
          <a:p>
            <a:fld id="{9E2BE927-25C7-4379-86F1-C17ED9D2A7F2}" type="slidenum">
              <a:rPr lang="en-US" smtClean="0"/>
              <a:pPr/>
              <a:t>17</a:t>
            </a:fld>
            <a:endParaRPr lang="en-US"/>
          </a:p>
        </p:txBody>
      </p:sp>
      <p:sp>
        <p:nvSpPr>
          <p:cNvPr id="14" name="Title 2">
            <a:extLst>
              <a:ext uri="{FF2B5EF4-FFF2-40B4-BE49-F238E27FC236}">
                <a16:creationId xmlns:a16="http://schemas.microsoft.com/office/drawing/2014/main" id="{423B693F-BBB5-C527-8130-FAB83FA410D1}"/>
              </a:ext>
            </a:extLst>
          </p:cNvPr>
          <p:cNvSpPr>
            <a:spLocks noGrp="1"/>
          </p:cNvSpPr>
          <p:nvPr>
            <p:ph type="title"/>
          </p:nvPr>
        </p:nvSpPr>
        <p:spPr>
          <a:xfrm>
            <a:off x="180000" y="115848"/>
            <a:ext cx="11472000" cy="468000"/>
          </a:xfrm>
        </p:spPr>
        <p:txBody>
          <a:bodyPr/>
          <a:lstStyle/>
          <a:p>
            <a:r>
              <a:rPr lang="en-US" sz="2800" dirty="0"/>
              <a:t>Sustainability and co-financing</a:t>
            </a:r>
          </a:p>
        </p:txBody>
      </p:sp>
      <p:sp>
        <p:nvSpPr>
          <p:cNvPr id="25" name="Title 1">
            <a:extLst>
              <a:ext uri="{FF2B5EF4-FFF2-40B4-BE49-F238E27FC236}">
                <a16:creationId xmlns:a16="http://schemas.microsoft.com/office/drawing/2014/main" id="{749AB300-3D6B-5E0D-8AAE-BCC95352EB24}"/>
              </a:ext>
            </a:extLst>
          </p:cNvPr>
          <p:cNvSpPr txBox="1">
            <a:spLocks/>
          </p:cNvSpPr>
          <p:nvPr/>
        </p:nvSpPr>
        <p:spPr>
          <a:xfrm>
            <a:off x="0" y="802539"/>
            <a:ext cx="6194242" cy="799971"/>
          </a:xfrm>
          <a:prstGeom prst="rect">
            <a:avLst/>
          </a:prstGeom>
        </p:spPr>
        <p:txBody>
          <a:bodyPr vert="horz" lIns="182880" tIns="0" rIns="182880" bIns="0" rtlCol="0" anchor="t" anchorCtr="0">
            <a:noAutofit/>
          </a:bodyPr>
          <a:lstStyle>
            <a:lvl1pPr algn="l" defTabSz="914400" rtl="0" eaLnBrk="1" latinLnBrk="0" hangingPunct="1">
              <a:lnSpc>
                <a:spcPct val="90000"/>
              </a:lnSpc>
              <a:spcBef>
                <a:spcPct val="0"/>
              </a:spcBef>
              <a:buNone/>
              <a:defRPr sz="3200" kern="1200">
                <a:solidFill>
                  <a:schemeClr val="tx1"/>
                </a:solidFill>
                <a:latin typeface="+mj-lt"/>
                <a:ea typeface="+mj-ea"/>
                <a:cs typeface="+mj-cs"/>
              </a:defRPr>
            </a:lvl1pPr>
          </a:lstStyle>
          <a:p>
            <a:pPr marL="290513" indent="-290513"/>
            <a:r>
              <a:rPr lang="en-US" sz="1600" b="1" dirty="0"/>
              <a:t>2. </a:t>
            </a:r>
            <a:r>
              <a:rPr lang="en-US" sz="1600" dirty="0"/>
              <a:t>Challenges in the universal health care implementation </a:t>
            </a:r>
          </a:p>
        </p:txBody>
      </p:sp>
      <p:cxnSp>
        <p:nvCxnSpPr>
          <p:cNvPr id="29" name="Straight Connector 28">
            <a:extLst>
              <a:ext uri="{FF2B5EF4-FFF2-40B4-BE49-F238E27FC236}">
                <a16:creationId xmlns:a16="http://schemas.microsoft.com/office/drawing/2014/main" id="{1846D814-3939-3F53-92E1-E612BBCD9AFD}"/>
              </a:ext>
            </a:extLst>
          </p:cNvPr>
          <p:cNvCxnSpPr>
            <a:cxnSpLocks/>
          </p:cNvCxnSpPr>
          <p:nvPr/>
        </p:nvCxnSpPr>
        <p:spPr>
          <a:xfrm>
            <a:off x="0" y="583848"/>
            <a:ext cx="12139612" cy="0"/>
          </a:xfrm>
          <a:prstGeom prst="line">
            <a:avLst/>
          </a:prstGeom>
          <a:ln w="285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C3024DEC-3465-EDAF-C869-EE83AFA5ED11}"/>
              </a:ext>
            </a:extLst>
          </p:cNvPr>
          <p:cNvSpPr txBox="1"/>
          <p:nvPr/>
        </p:nvSpPr>
        <p:spPr>
          <a:xfrm>
            <a:off x="121341" y="1456521"/>
            <a:ext cx="5794659" cy="5401479"/>
          </a:xfrm>
          <a:prstGeom prst="rect">
            <a:avLst/>
          </a:prstGeom>
          <a:solidFill>
            <a:schemeClr val="bg1"/>
          </a:solidFill>
        </p:spPr>
        <p:txBody>
          <a:bodyPr wrap="square" lIns="91440" tIns="45720" rIns="91440" bIns="45720" anchor="t">
            <a:spAutoFit/>
          </a:bodyPr>
          <a:lstStyle/>
          <a:p>
            <a:pPr marL="180340" indent="-171450" algn="just">
              <a:spcAft>
                <a:spcPts val="2400"/>
              </a:spcAft>
              <a:buSzPct val="100000"/>
              <a:buFont typeface="Wingdings" panose="05000000000000000000" pitchFamily="2" charset="2"/>
              <a:buChar char="§"/>
              <a:defRPr/>
            </a:pPr>
            <a:r>
              <a:rPr lang="en-US" sz="1600" dirty="0">
                <a:latin typeface="Arial"/>
                <a:cs typeface="Arial"/>
              </a:rPr>
              <a:t>Financial challenge at National Health Insurance Bureau to meet the financial need for UHC. </a:t>
            </a:r>
          </a:p>
          <a:p>
            <a:pPr marL="180340" indent="-171450">
              <a:spcAft>
                <a:spcPts val="2400"/>
              </a:spcAft>
              <a:buSzPct val="100000"/>
              <a:buFont typeface="Wingdings" panose="05000000000000000000" pitchFamily="2" charset="2"/>
              <a:buChar char="§"/>
              <a:defRPr/>
            </a:pPr>
            <a:endParaRPr lang="en-US" sz="1600" dirty="0">
              <a:latin typeface="Arial"/>
              <a:cs typeface="Arial"/>
            </a:endParaRPr>
          </a:p>
          <a:p>
            <a:pPr marL="180340" indent="-171450" algn="just">
              <a:spcAft>
                <a:spcPts val="2400"/>
              </a:spcAft>
              <a:buSzPct val="100000"/>
              <a:buFont typeface="Wingdings" panose="05000000000000000000" pitchFamily="2" charset="2"/>
              <a:buChar char="§"/>
              <a:defRPr/>
            </a:pPr>
            <a:endParaRPr lang="en-US" dirty="0">
              <a:latin typeface="Arial"/>
              <a:cs typeface="Arial"/>
            </a:endParaRPr>
          </a:p>
          <a:p>
            <a:pPr marL="180340" indent="-171450" algn="just">
              <a:spcAft>
                <a:spcPts val="1200"/>
              </a:spcAft>
              <a:buSzPct val="100000"/>
              <a:buFont typeface="Wingdings" panose="05000000000000000000" pitchFamily="2" charset="2"/>
              <a:buChar char="§"/>
              <a:defRPr/>
            </a:pPr>
            <a:endParaRPr lang="en-US" dirty="0">
              <a:latin typeface="Arial"/>
              <a:cs typeface="Arial"/>
            </a:endParaRPr>
          </a:p>
          <a:p>
            <a:pPr marL="285750" indent="-285750" algn="just">
              <a:spcAft>
                <a:spcPts val="600"/>
              </a:spcAft>
              <a:buFont typeface="Wingdings" panose="05000000000000000000" pitchFamily="2" charset="2"/>
              <a:buChar char="§"/>
            </a:pPr>
            <a:r>
              <a:rPr lang="en-US" sz="1600" dirty="0">
                <a:latin typeface="Arial"/>
                <a:cs typeface="Arial"/>
              </a:rPr>
              <a:t>Reliance of heath facilities on user fees poses a financial barrier to service access, hindering UHC goals. The current requirement of 60% OOP expenses </a:t>
            </a:r>
          </a:p>
          <a:p>
            <a:pPr marL="285750" indent="-285750" algn="just">
              <a:buFont typeface="Wingdings" panose="05000000000000000000" pitchFamily="2" charset="2"/>
              <a:buChar char="§"/>
            </a:pPr>
            <a:r>
              <a:rPr lang="en-US" sz="1600" dirty="0">
                <a:latin typeface="Arial"/>
                <a:cs typeface="Arial"/>
              </a:rPr>
              <a:t>Weak monitoring of reimbursements to HFs by the NHIB due to; </a:t>
            </a:r>
          </a:p>
          <a:p>
            <a:pPr marL="742950" lvl="1" indent="-285750" algn="just">
              <a:buFont typeface="Arial" panose="020B0604020202020204" pitchFamily="34" charset="0"/>
              <a:buChar char="•"/>
            </a:pPr>
            <a:r>
              <a:rPr lang="en-US" sz="1600" dirty="0">
                <a:latin typeface="Arial" panose="020B0604020202020204" pitchFamily="34" charset="0"/>
                <a:cs typeface="Arial" panose="020B0604020202020204" pitchFamily="34" charset="0"/>
              </a:rPr>
              <a:t>Lack of approved operational manual</a:t>
            </a:r>
          </a:p>
          <a:p>
            <a:pPr marL="742950" lvl="1" indent="-285750" algn="just">
              <a:buFont typeface="Arial" panose="020B0604020202020204" pitchFamily="34" charset="0"/>
              <a:buChar char="•"/>
            </a:pPr>
            <a:r>
              <a:rPr lang="en-US" sz="1600" dirty="0">
                <a:latin typeface="Arial" panose="020B0604020202020204" pitchFamily="34" charset="0"/>
                <a:cs typeface="Arial" panose="020B0604020202020204" pitchFamily="34" charset="0"/>
              </a:rPr>
              <a:t>Irregular monitoring of reimbursements to HFs. 40% (2/5) of semesterly monitoring reports done in GC6</a:t>
            </a:r>
          </a:p>
          <a:p>
            <a:pPr marL="742950" lvl="1" indent="-285750" algn="just">
              <a:buFont typeface="Arial" panose="020B0604020202020204" pitchFamily="34" charset="0"/>
              <a:buChar char="•"/>
            </a:pPr>
            <a:r>
              <a:rPr lang="en-US" sz="1600" dirty="0">
                <a:latin typeface="Arial" panose="020B0604020202020204" pitchFamily="34" charset="0"/>
                <a:cs typeface="Arial" panose="020B0604020202020204" pitchFamily="34" charset="0"/>
              </a:rPr>
              <a:t>Long periods taken for reimbursements to HFs (2 quarterly from HF submitting reimbursement requirement).</a:t>
            </a:r>
            <a:endParaRPr lang="en-US" dirty="0">
              <a:latin typeface="Arial" panose="020B0604020202020204" pitchFamily="34" charset="0"/>
              <a:cs typeface="Arial" panose="020B0604020202020204" pitchFamily="34" charset="0"/>
            </a:endParaRPr>
          </a:p>
        </p:txBody>
      </p:sp>
      <p:graphicFrame>
        <p:nvGraphicFramePr>
          <p:cNvPr id="3" name="Table 2">
            <a:extLst>
              <a:ext uri="{FF2B5EF4-FFF2-40B4-BE49-F238E27FC236}">
                <a16:creationId xmlns:a16="http://schemas.microsoft.com/office/drawing/2014/main" id="{01FFCF3B-D72D-9F07-6977-AAE1FB59A1D0}"/>
              </a:ext>
            </a:extLst>
          </p:cNvPr>
          <p:cNvGraphicFramePr>
            <a:graphicFrameLocks noGrp="1"/>
          </p:cNvGraphicFramePr>
          <p:nvPr>
            <p:extLst>
              <p:ext uri="{D42A27DB-BD31-4B8C-83A1-F6EECF244321}">
                <p14:modId xmlns:p14="http://schemas.microsoft.com/office/powerpoint/2010/main" val="3939699819"/>
              </p:ext>
            </p:extLst>
          </p:nvPr>
        </p:nvGraphicFramePr>
        <p:xfrm>
          <a:off x="421782" y="2149184"/>
          <a:ext cx="5376853" cy="1386561"/>
        </p:xfrm>
        <a:graphic>
          <a:graphicData uri="http://schemas.openxmlformats.org/drawingml/2006/table">
            <a:tbl>
              <a:tblPr firstRow="1" bandRow="1">
                <a:tableStyleId>{9DCAF9ED-07DC-4A11-8D7F-57B35C25682E}</a:tableStyleId>
              </a:tblPr>
              <a:tblGrid>
                <a:gridCol w="2458442">
                  <a:extLst>
                    <a:ext uri="{9D8B030D-6E8A-4147-A177-3AD203B41FA5}">
                      <a16:colId xmlns:a16="http://schemas.microsoft.com/office/drawing/2014/main" val="1913479565"/>
                    </a:ext>
                  </a:extLst>
                </a:gridCol>
                <a:gridCol w="1630846">
                  <a:extLst>
                    <a:ext uri="{9D8B030D-6E8A-4147-A177-3AD203B41FA5}">
                      <a16:colId xmlns:a16="http://schemas.microsoft.com/office/drawing/2014/main" val="466975865"/>
                    </a:ext>
                  </a:extLst>
                </a:gridCol>
                <a:gridCol w="1287565">
                  <a:extLst>
                    <a:ext uri="{9D8B030D-6E8A-4147-A177-3AD203B41FA5}">
                      <a16:colId xmlns:a16="http://schemas.microsoft.com/office/drawing/2014/main" val="183963597"/>
                    </a:ext>
                  </a:extLst>
                </a:gridCol>
              </a:tblGrid>
              <a:tr h="146216">
                <a:tc>
                  <a:txBody>
                    <a:bodyPr/>
                    <a:lstStyle/>
                    <a:p>
                      <a:pPr>
                        <a:lnSpc>
                          <a:spcPct val="107000"/>
                        </a:lnSpc>
                        <a:spcAft>
                          <a:spcPts val="800"/>
                        </a:spcAft>
                      </a:pPr>
                      <a:r>
                        <a:rPr lang="en-US" sz="1200" b="1" kern="0">
                          <a:solidFill>
                            <a:schemeClr val="bg1"/>
                          </a:solidFill>
                          <a:effectLst/>
                        </a:rPr>
                        <a:t>Description</a:t>
                      </a:r>
                      <a:endParaRPr lang="en-US" sz="1200" kern="10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a:lnSpc>
                          <a:spcPct val="107000"/>
                        </a:lnSpc>
                        <a:spcAft>
                          <a:spcPts val="800"/>
                        </a:spcAft>
                      </a:pPr>
                      <a:r>
                        <a:rPr lang="en-US" sz="1200" b="1" kern="0">
                          <a:solidFill>
                            <a:schemeClr val="bg1"/>
                          </a:solidFill>
                          <a:effectLst/>
                        </a:rPr>
                        <a:t> Amount (KIP) </a:t>
                      </a:r>
                      <a:endParaRPr lang="en-US" sz="1200" kern="10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a:lnSpc>
                          <a:spcPct val="107000"/>
                        </a:lnSpc>
                        <a:spcAft>
                          <a:spcPts val="800"/>
                        </a:spcAft>
                      </a:pPr>
                      <a:r>
                        <a:rPr lang="en-US" sz="1200" b="1" kern="0">
                          <a:solidFill>
                            <a:schemeClr val="bg1"/>
                          </a:solidFill>
                          <a:effectLst/>
                        </a:rPr>
                        <a:t>Amount (USD)</a:t>
                      </a:r>
                      <a:endParaRPr lang="en-US" sz="1200" kern="10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extLst>
                  <a:ext uri="{0D108BD9-81ED-4DB2-BD59-A6C34878D82A}">
                    <a16:rowId xmlns:a16="http://schemas.microsoft.com/office/drawing/2014/main" val="1306912150"/>
                  </a:ext>
                </a:extLst>
              </a:tr>
              <a:tr h="300174">
                <a:tc>
                  <a:txBody>
                    <a:bodyPr/>
                    <a:lstStyle/>
                    <a:p>
                      <a:pPr>
                        <a:lnSpc>
                          <a:spcPct val="107000"/>
                        </a:lnSpc>
                        <a:spcAft>
                          <a:spcPts val="800"/>
                        </a:spcAft>
                      </a:pPr>
                      <a:r>
                        <a:rPr lang="en-US" sz="1200" kern="0">
                          <a:solidFill>
                            <a:srgbClr val="000000"/>
                          </a:solidFill>
                          <a:effectLst/>
                        </a:rPr>
                        <a:t>Estimated financial need</a:t>
                      </a:r>
                      <a:endParaRPr lang="en-US" sz="1200" kern="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algn="r">
                        <a:lnSpc>
                          <a:spcPct val="107000"/>
                        </a:lnSpc>
                        <a:spcAft>
                          <a:spcPts val="800"/>
                        </a:spcAft>
                      </a:pPr>
                      <a:r>
                        <a:rPr lang="en-US" sz="1200" kern="0">
                          <a:solidFill>
                            <a:srgbClr val="000000"/>
                          </a:solidFill>
                          <a:effectLst/>
                        </a:rPr>
                        <a:t>  400,000,000,000 </a:t>
                      </a:r>
                      <a:endParaRPr lang="en-US" sz="1200" kern="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algn="r">
                        <a:lnSpc>
                          <a:spcPct val="107000"/>
                        </a:lnSpc>
                        <a:spcAft>
                          <a:spcPts val="800"/>
                        </a:spcAft>
                      </a:pPr>
                      <a:r>
                        <a:rPr lang="en-US" sz="1200" kern="0">
                          <a:solidFill>
                            <a:srgbClr val="000000"/>
                          </a:solidFill>
                          <a:effectLst/>
                        </a:rPr>
                        <a:t>       20,000,000 </a:t>
                      </a:r>
                      <a:endParaRPr lang="en-US" sz="1200" kern="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extLst>
                  <a:ext uri="{0D108BD9-81ED-4DB2-BD59-A6C34878D82A}">
                    <a16:rowId xmlns:a16="http://schemas.microsoft.com/office/drawing/2014/main" val="3831753138"/>
                  </a:ext>
                </a:extLst>
              </a:tr>
              <a:tr h="300174">
                <a:tc>
                  <a:txBody>
                    <a:bodyPr/>
                    <a:lstStyle/>
                    <a:p>
                      <a:pPr>
                        <a:lnSpc>
                          <a:spcPct val="107000"/>
                        </a:lnSpc>
                        <a:spcAft>
                          <a:spcPts val="800"/>
                        </a:spcAft>
                      </a:pPr>
                      <a:r>
                        <a:rPr lang="en-US" sz="1200" kern="0">
                          <a:solidFill>
                            <a:srgbClr val="000000"/>
                          </a:solidFill>
                          <a:effectLst/>
                        </a:rPr>
                        <a:t>Government commitment</a:t>
                      </a:r>
                      <a:endParaRPr lang="en-US" sz="1200" kern="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algn="r">
                        <a:lnSpc>
                          <a:spcPct val="107000"/>
                        </a:lnSpc>
                        <a:spcAft>
                          <a:spcPts val="800"/>
                        </a:spcAft>
                      </a:pPr>
                      <a:r>
                        <a:rPr lang="en-US" sz="1200" kern="0">
                          <a:solidFill>
                            <a:srgbClr val="000000"/>
                          </a:solidFill>
                          <a:effectLst/>
                        </a:rPr>
                        <a:t>  180,000,000,000 </a:t>
                      </a:r>
                      <a:endParaRPr lang="en-US" sz="1200" kern="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algn="r">
                        <a:lnSpc>
                          <a:spcPct val="107000"/>
                        </a:lnSpc>
                        <a:spcAft>
                          <a:spcPts val="800"/>
                        </a:spcAft>
                      </a:pPr>
                      <a:r>
                        <a:rPr lang="en-US" sz="1200" kern="0">
                          <a:solidFill>
                            <a:srgbClr val="000000"/>
                          </a:solidFill>
                          <a:effectLst/>
                        </a:rPr>
                        <a:t>         9,000,000 </a:t>
                      </a:r>
                      <a:endParaRPr lang="en-US" sz="1200" kern="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extLst>
                  <a:ext uri="{0D108BD9-81ED-4DB2-BD59-A6C34878D82A}">
                    <a16:rowId xmlns:a16="http://schemas.microsoft.com/office/drawing/2014/main" val="551729418"/>
                  </a:ext>
                </a:extLst>
              </a:tr>
              <a:tr h="300174">
                <a:tc>
                  <a:txBody>
                    <a:bodyPr/>
                    <a:lstStyle/>
                    <a:p>
                      <a:pPr>
                        <a:lnSpc>
                          <a:spcPct val="107000"/>
                        </a:lnSpc>
                        <a:spcAft>
                          <a:spcPts val="800"/>
                        </a:spcAft>
                      </a:pPr>
                      <a:r>
                        <a:rPr lang="en-US" sz="1200" kern="0">
                          <a:solidFill>
                            <a:srgbClr val="000000"/>
                          </a:solidFill>
                          <a:effectLst/>
                        </a:rPr>
                        <a:t>Additional commitment </a:t>
                      </a:r>
                      <a:endParaRPr lang="en-US" sz="1200" kern="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algn="r">
                        <a:lnSpc>
                          <a:spcPct val="107000"/>
                        </a:lnSpc>
                        <a:spcAft>
                          <a:spcPts val="800"/>
                        </a:spcAft>
                      </a:pPr>
                      <a:r>
                        <a:rPr lang="en-US" sz="1200" kern="0">
                          <a:solidFill>
                            <a:srgbClr val="000000"/>
                          </a:solidFill>
                          <a:effectLst/>
                        </a:rPr>
                        <a:t>    50,000,000,000 </a:t>
                      </a:r>
                      <a:endParaRPr lang="en-US" sz="1200" kern="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algn="r">
                        <a:lnSpc>
                          <a:spcPct val="107000"/>
                        </a:lnSpc>
                        <a:spcAft>
                          <a:spcPts val="800"/>
                        </a:spcAft>
                      </a:pPr>
                      <a:r>
                        <a:rPr lang="en-US" sz="1200" kern="0">
                          <a:solidFill>
                            <a:srgbClr val="000000"/>
                          </a:solidFill>
                          <a:effectLst/>
                        </a:rPr>
                        <a:t>         2,500,000 </a:t>
                      </a:r>
                      <a:endParaRPr lang="en-US" sz="1200" kern="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extLst>
                  <a:ext uri="{0D108BD9-81ED-4DB2-BD59-A6C34878D82A}">
                    <a16:rowId xmlns:a16="http://schemas.microsoft.com/office/drawing/2014/main" val="4223689599"/>
                  </a:ext>
                </a:extLst>
              </a:tr>
              <a:tr h="300174">
                <a:tc>
                  <a:txBody>
                    <a:bodyPr/>
                    <a:lstStyle/>
                    <a:p>
                      <a:pPr>
                        <a:lnSpc>
                          <a:spcPct val="107000"/>
                        </a:lnSpc>
                        <a:spcAft>
                          <a:spcPts val="800"/>
                        </a:spcAft>
                      </a:pPr>
                      <a:r>
                        <a:rPr lang="en-US" sz="1200" kern="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Financial Gap</a:t>
                      </a:r>
                      <a:endParaRPr lang="en-US" sz="1200" kern="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algn="r">
                        <a:lnSpc>
                          <a:spcPct val="107000"/>
                        </a:lnSpc>
                        <a:spcAft>
                          <a:spcPts val="800"/>
                        </a:spcAft>
                      </a:pPr>
                      <a:r>
                        <a:rPr lang="en-US" sz="1200" kern="0">
                          <a:solidFill>
                            <a:srgbClr val="000000"/>
                          </a:solidFill>
                          <a:effectLst/>
                        </a:rPr>
                        <a:t>  170,000,000,000 </a:t>
                      </a:r>
                      <a:endParaRPr lang="en-US" sz="1200" kern="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algn="r">
                        <a:lnSpc>
                          <a:spcPct val="107000"/>
                        </a:lnSpc>
                        <a:spcAft>
                          <a:spcPts val="800"/>
                        </a:spcAft>
                      </a:pPr>
                      <a:r>
                        <a:rPr lang="en-US" sz="1200" kern="0" dirty="0">
                          <a:solidFill>
                            <a:srgbClr val="000000"/>
                          </a:solidFill>
                          <a:effectLst/>
                        </a:rPr>
                        <a:t>         8,500,000 </a:t>
                      </a:r>
                      <a:endParaRPr lang="en-US" sz="1200" kern="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extLst>
                  <a:ext uri="{0D108BD9-81ED-4DB2-BD59-A6C34878D82A}">
                    <a16:rowId xmlns:a16="http://schemas.microsoft.com/office/drawing/2014/main" val="2591744846"/>
                  </a:ext>
                </a:extLst>
              </a:tr>
            </a:tbl>
          </a:graphicData>
        </a:graphic>
      </p:graphicFrame>
      <p:sp>
        <p:nvSpPr>
          <p:cNvPr id="4" name="Title 1">
            <a:extLst>
              <a:ext uri="{FF2B5EF4-FFF2-40B4-BE49-F238E27FC236}">
                <a16:creationId xmlns:a16="http://schemas.microsoft.com/office/drawing/2014/main" id="{7EFEA91E-E53D-2856-DE0B-183F79394223}"/>
              </a:ext>
            </a:extLst>
          </p:cNvPr>
          <p:cNvSpPr txBox="1">
            <a:spLocks/>
          </p:cNvSpPr>
          <p:nvPr/>
        </p:nvSpPr>
        <p:spPr>
          <a:xfrm>
            <a:off x="6096000" y="815718"/>
            <a:ext cx="6118698" cy="799971"/>
          </a:xfrm>
          <a:prstGeom prst="rect">
            <a:avLst/>
          </a:prstGeom>
        </p:spPr>
        <p:txBody>
          <a:bodyPr vert="horz" lIns="182880" tIns="0" rIns="182880" bIns="0" rtlCol="0" anchor="t" anchorCtr="0">
            <a:noAutofit/>
          </a:bodyPr>
          <a:lstStyle>
            <a:lvl1pPr algn="l" defTabSz="914400" rtl="0" eaLnBrk="1" latinLnBrk="0" hangingPunct="1">
              <a:lnSpc>
                <a:spcPct val="90000"/>
              </a:lnSpc>
              <a:spcBef>
                <a:spcPct val="0"/>
              </a:spcBef>
              <a:buNone/>
              <a:defRPr sz="3200" kern="1200">
                <a:solidFill>
                  <a:schemeClr val="tx1"/>
                </a:solidFill>
                <a:latin typeface="+mj-lt"/>
                <a:ea typeface="+mj-ea"/>
                <a:cs typeface="+mj-cs"/>
              </a:defRPr>
            </a:lvl1pPr>
          </a:lstStyle>
          <a:p>
            <a:pPr marL="290513" indent="-290513"/>
            <a:r>
              <a:rPr lang="en-US" sz="1600" b="1" dirty="0"/>
              <a:t>3. Challenges on </a:t>
            </a:r>
            <a:r>
              <a:rPr lang="en-US" sz="1600" dirty="0"/>
              <a:t>leveraging partners funding </a:t>
            </a:r>
          </a:p>
          <a:p>
            <a:pPr marL="290513" indent="-290513"/>
            <a:endParaRPr lang="en-US" sz="1600" dirty="0"/>
          </a:p>
          <a:p>
            <a:pPr marL="290513" indent="-290513" algn="just">
              <a:buFont typeface="Wingdings" panose="05000000000000000000" pitchFamily="2" charset="2"/>
              <a:buChar char="§"/>
            </a:pPr>
            <a:r>
              <a:rPr lang="en-US" sz="1600" dirty="0">
                <a:latin typeface="Arial" panose="020B0604020202020204" pitchFamily="34" charset="0"/>
                <a:cs typeface="Arial" panose="020B0604020202020204" pitchFamily="34" charset="0"/>
              </a:rPr>
              <a:t>Different approaches in priority setting leading to misalignment with the NSP priorities. </a:t>
            </a:r>
            <a:r>
              <a:rPr lang="en-US" sz="1600" dirty="0" err="1">
                <a:latin typeface="Arial" panose="020B0604020202020204" pitchFamily="34" charset="0"/>
                <a:cs typeface="Arial" panose="020B0604020202020204" pitchFamily="34" charset="0"/>
              </a:rPr>
              <a:t>Eg</a:t>
            </a:r>
            <a:r>
              <a:rPr lang="en-US" sz="1600" dirty="0">
                <a:latin typeface="Arial" panose="020B0604020202020204" pitchFamily="34" charset="0"/>
                <a:cs typeface="Arial" panose="020B0604020202020204" pitchFamily="34" charset="0"/>
              </a:rPr>
              <a:t> Prep is prioritized by Global Fund while the implementation suffers bottlenecks like demand creation.</a:t>
            </a:r>
          </a:p>
          <a:p>
            <a:pPr marL="290513" indent="-290513" algn="just">
              <a:buFont typeface="Wingdings" panose="05000000000000000000" pitchFamily="2" charset="2"/>
              <a:buChar char="§"/>
            </a:pPr>
            <a:endParaRPr lang="en-US" sz="1600" dirty="0">
              <a:latin typeface="Arial" panose="020B0604020202020204" pitchFamily="34" charset="0"/>
              <a:cs typeface="Arial" panose="020B0604020202020204" pitchFamily="34" charset="0"/>
            </a:endParaRPr>
          </a:p>
          <a:p>
            <a:pPr marL="290513" indent="-290513" algn="just">
              <a:buFont typeface="Wingdings" panose="05000000000000000000" pitchFamily="2" charset="2"/>
              <a:buChar char="§"/>
            </a:pPr>
            <a:r>
              <a:rPr lang="en-US" sz="1600" dirty="0">
                <a:latin typeface="Arial" panose="020B0604020202020204" pitchFamily="34" charset="0"/>
                <a:cs typeface="Arial" panose="020B0604020202020204" pitchFamily="34" charset="0"/>
              </a:rPr>
              <a:t>Failure to align reporting requirements across donors </a:t>
            </a:r>
            <a:r>
              <a:rPr lang="en-US" sz="1600" dirty="0" err="1">
                <a:latin typeface="Arial" panose="020B0604020202020204" pitchFamily="34" charset="0"/>
                <a:cs typeface="Arial" panose="020B0604020202020204" pitchFamily="34" charset="0"/>
              </a:rPr>
              <a:t>E.g</a:t>
            </a:r>
            <a:r>
              <a:rPr lang="en-US" sz="1600" dirty="0">
                <a:latin typeface="Arial" panose="020B0604020202020204" pitchFamily="34" charset="0"/>
                <a:cs typeface="Arial" panose="020B0604020202020204" pitchFamily="34" charset="0"/>
              </a:rPr>
              <a:t> Global Fund has PUDR reporting while it is a different reporting requirement for the World Bank. </a:t>
            </a:r>
          </a:p>
        </p:txBody>
      </p:sp>
      <p:sp>
        <p:nvSpPr>
          <p:cNvPr id="5" name="Title 1">
            <a:extLst>
              <a:ext uri="{FF2B5EF4-FFF2-40B4-BE49-F238E27FC236}">
                <a16:creationId xmlns:a16="http://schemas.microsoft.com/office/drawing/2014/main" id="{B5D69466-12D8-096F-096C-F729E2DC6EB1}"/>
              </a:ext>
            </a:extLst>
          </p:cNvPr>
          <p:cNvSpPr txBox="1">
            <a:spLocks/>
          </p:cNvSpPr>
          <p:nvPr/>
        </p:nvSpPr>
        <p:spPr>
          <a:xfrm>
            <a:off x="6096000" y="3314653"/>
            <a:ext cx="6298837" cy="399520"/>
          </a:xfrm>
          <a:prstGeom prst="rect">
            <a:avLst/>
          </a:prstGeom>
        </p:spPr>
        <p:txBody>
          <a:bodyPr vert="horz" lIns="182880" tIns="0" rIns="182880" bIns="0" rtlCol="0" anchor="t" anchorCtr="0">
            <a:noAutofit/>
          </a:bodyPr>
          <a:lstStyle>
            <a:lvl1pPr algn="l" defTabSz="914400" rtl="0" eaLnBrk="1" latinLnBrk="0" hangingPunct="1">
              <a:lnSpc>
                <a:spcPct val="90000"/>
              </a:lnSpc>
              <a:spcBef>
                <a:spcPct val="0"/>
              </a:spcBef>
              <a:buNone/>
              <a:defRPr sz="3200" kern="1200">
                <a:solidFill>
                  <a:schemeClr val="tx1"/>
                </a:solidFill>
                <a:latin typeface="+mj-lt"/>
                <a:ea typeface="+mj-ea"/>
                <a:cs typeface="+mj-cs"/>
              </a:defRPr>
            </a:lvl1pPr>
          </a:lstStyle>
          <a:p>
            <a:pPr marL="290513" indent="-290513"/>
            <a:r>
              <a:rPr lang="en-US" sz="1600" b="1" dirty="0"/>
              <a:t>4. </a:t>
            </a:r>
            <a:r>
              <a:rPr lang="en-US" sz="1600" b="1" dirty="0">
                <a:cs typeface="Arial" panose="020B0604020202020204" pitchFamily="34" charset="0"/>
              </a:rPr>
              <a:t>Challenges in institutional capacity</a:t>
            </a:r>
            <a:endParaRPr lang="en-US" sz="1600" b="1" dirty="0"/>
          </a:p>
        </p:txBody>
      </p:sp>
      <p:sp>
        <p:nvSpPr>
          <p:cNvPr id="7" name="TextBox 6">
            <a:extLst>
              <a:ext uri="{FF2B5EF4-FFF2-40B4-BE49-F238E27FC236}">
                <a16:creationId xmlns:a16="http://schemas.microsoft.com/office/drawing/2014/main" id="{528205A8-4CCF-38CB-9D33-A2E9BB381717}"/>
              </a:ext>
            </a:extLst>
          </p:cNvPr>
          <p:cNvSpPr txBox="1"/>
          <p:nvPr/>
        </p:nvSpPr>
        <p:spPr>
          <a:xfrm>
            <a:off x="6243317" y="3768157"/>
            <a:ext cx="5824062" cy="1569660"/>
          </a:xfrm>
          <a:prstGeom prst="rect">
            <a:avLst/>
          </a:prstGeom>
          <a:noFill/>
        </p:spPr>
        <p:txBody>
          <a:bodyPr wrap="square" lIns="91440" tIns="45720" rIns="91440" bIns="45720" anchor="t">
            <a:spAutoFit/>
          </a:bodyPr>
          <a:lstStyle/>
          <a:p>
            <a:pPr marL="294640" indent="-285750" algn="just">
              <a:buSzPct val="100000"/>
              <a:buFont typeface="Wingdings" panose="05000000000000000000" pitchFamily="2" charset="2"/>
              <a:buChar char="§"/>
              <a:defRPr/>
            </a:pPr>
            <a:r>
              <a:rPr lang="en-US" sz="1600" dirty="0">
                <a:latin typeface="Arial"/>
                <a:cs typeface="Arial"/>
              </a:rPr>
              <a:t>Lack of monitoring of the Independent Academic Institution (IAI) by the NPCO resulting in poor verification of achievement of DLI targets</a:t>
            </a:r>
          </a:p>
          <a:p>
            <a:pPr marL="8890" algn="just">
              <a:buSzPct val="100000"/>
              <a:defRPr/>
            </a:pPr>
            <a:endParaRPr lang="en-US" sz="1600" dirty="0">
              <a:latin typeface="Arial"/>
              <a:cs typeface="Arial"/>
            </a:endParaRPr>
          </a:p>
          <a:p>
            <a:pPr marL="294640" indent="-285750" algn="just">
              <a:buSzPct val="100000"/>
              <a:buFont typeface="Wingdings" panose="05000000000000000000" pitchFamily="2" charset="2"/>
              <a:buChar char="§"/>
              <a:defRPr/>
            </a:pPr>
            <a:r>
              <a:rPr lang="en-US" sz="1600" dirty="0">
                <a:latin typeface="Arial"/>
                <a:cs typeface="Arial"/>
              </a:rPr>
              <a:t>Lack of transition of verification from the Third-party verification to NHIB  impacting institutional sustainability.</a:t>
            </a:r>
            <a:endParaRPr lang="en-US" sz="1600" b="1" dirty="0">
              <a:solidFill>
                <a:prstClr val="black"/>
              </a:solidFill>
              <a:latin typeface="Arial" panose="020B0604020202020204" pitchFamily="34" charset="0"/>
              <a:cs typeface="Arial" panose="020B0604020202020204" pitchFamily="34" charset="0"/>
            </a:endParaRPr>
          </a:p>
        </p:txBody>
      </p:sp>
      <p:sp>
        <p:nvSpPr>
          <p:cNvPr id="6" name="Title 1">
            <a:extLst>
              <a:ext uri="{FF2B5EF4-FFF2-40B4-BE49-F238E27FC236}">
                <a16:creationId xmlns:a16="http://schemas.microsoft.com/office/drawing/2014/main" id="{9C94BA38-2782-5D22-C978-20241DE5212E}"/>
              </a:ext>
            </a:extLst>
          </p:cNvPr>
          <p:cNvSpPr txBox="1">
            <a:spLocks/>
          </p:cNvSpPr>
          <p:nvPr/>
        </p:nvSpPr>
        <p:spPr>
          <a:xfrm>
            <a:off x="6096000" y="5413137"/>
            <a:ext cx="6298837" cy="399520"/>
          </a:xfrm>
          <a:prstGeom prst="rect">
            <a:avLst/>
          </a:prstGeom>
        </p:spPr>
        <p:txBody>
          <a:bodyPr vert="horz" lIns="182880" tIns="0" rIns="182880" bIns="0" rtlCol="0" anchor="t" anchorCtr="0">
            <a:noAutofit/>
          </a:bodyPr>
          <a:lstStyle>
            <a:lvl1pPr algn="l" defTabSz="914400" rtl="0" eaLnBrk="1" latinLnBrk="0" hangingPunct="1">
              <a:lnSpc>
                <a:spcPct val="90000"/>
              </a:lnSpc>
              <a:spcBef>
                <a:spcPct val="0"/>
              </a:spcBef>
              <a:buNone/>
              <a:defRPr sz="3200" kern="1200">
                <a:solidFill>
                  <a:schemeClr val="tx1"/>
                </a:solidFill>
                <a:latin typeface="+mj-lt"/>
                <a:ea typeface="+mj-ea"/>
                <a:cs typeface="+mj-cs"/>
              </a:defRPr>
            </a:lvl1pPr>
          </a:lstStyle>
          <a:p>
            <a:pPr marL="290513" indent="-290513"/>
            <a:r>
              <a:rPr lang="en-US" sz="1600" b="1" dirty="0"/>
              <a:t>5. Lack of social contracting mechanism</a:t>
            </a:r>
          </a:p>
        </p:txBody>
      </p:sp>
      <p:sp>
        <p:nvSpPr>
          <p:cNvPr id="9" name="TextBox 8">
            <a:extLst>
              <a:ext uri="{FF2B5EF4-FFF2-40B4-BE49-F238E27FC236}">
                <a16:creationId xmlns:a16="http://schemas.microsoft.com/office/drawing/2014/main" id="{8F785D0C-566A-4B85-EF06-DA0E9C7412CB}"/>
              </a:ext>
            </a:extLst>
          </p:cNvPr>
          <p:cNvSpPr txBox="1"/>
          <p:nvPr/>
        </p:nvSpPr>
        <p:spPr>
          <a:xfrm>
            <a:off x="6243317" y="5755273"/>
            <a:ext cx="5824062" cy="830997"/>
          </a:xfrm>
          <a:prstGeom prst="rect">
            <a:avLst/>
          </a:prstGeom>
          <a:noFill/>
        </p:spPr>
        <p:txBody>
          <a:bodyPr wrap="square" lIns="91440" tIns="45720" rIns="91440" bIns="45720" anchor="t">
            <a:spAutoFit/>
          </a:bodyPr>
          <a:lstStyle/>
          <a:p>
            <a:pPr marL="294640" indent="-285750" algn="just">
              <a:buSzPct val="100000"/>
              <a:buFont typeface="Wingdings" panose="05000000000000000000" pitchFamily="2" charset="2"/>
              <a:buChar char="§"/>
              <a:defRPr/>
            </a:pPr>
            <a:r>
              <a:rPr lang="en-US" sz="1600" dirty="0">
                <a:latin typeface="Arial"/>
                <a:cs typeface="Arial"/>
              </a:rPr>
              <a:t>There is no social contracting mechanism in place to ensure use of CSO in implementation of HIV and TB programs at community level</a:t>
            </a:r>
          </a:p>
        </p:txBody>
      </p:sp>
    </p:spTree>
    <p:custDataLst>
      <p:custData r:id="rId1"/>
      <p:custData r:id="rId2"/>
    </p:custDataLst>
    <p:extLst>
      <p:ext uri="{BB962C8B-B14F-4D97-AF65-F5344CB8AC3E}">
        <p14:creationId xmlns:p14="http://schemas.microsoft.com/office/powerpoint/2010/main" val="365820264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6E66EE26-2E0D-44E7-A0FD-9D7C25304C70}"/>
              </a:ext>
            </a:extLst>
          </p:cNvPr>
          <p:cNvSpPr>
            <a:spLocks noGrp="1"/>
          </p:cNvSpPr>
          <p:nvPr>
            <p:ph type="sldNum" sz="quarter" idx="12"/>
          </p:nvPr>
        </p:nvSpPr>
        <p:spPr/>
        <p:txBody>
          <a:bodyPr/>
          <a:lstStyle/>
          <a:p>
            <a:fld id="{9E2BE927-25C7-4379-86F1-C17ED9D2A7F2}" type="slidenum">
              <a:rPr lang="en-US" smtClean="0"/>
              <a:pPr/>
              <a:t>18</a:t>
            </a:fld>
            <a:endParaRPr lang="en-US"/>
          </a:p>
        </p:txBody>
      </p:sp>
      <p:sp>
        <p:nvSpPr>
          <p:cNvPr id="14" name="Title 2">
            <a:extLst>
              <a:ext uri="{FF2B5EF4-FFF2-40B4-BE49-F238E27FC236}">
                <a16:creationId xmlns:a16="http://schemas.microsoft.com/office/drawing/2014/main" id="{423B693F-BBB5-C527-8130-FAB83FA410D1}"/>
              </a:ext>
            </a:extLst>
          </p:cNvPr>
          <p:cNvSpPr>
            <a:spLocks noGrp="1"/>
          </p:cNvSpPr>
          <p:nvPr>
            <p:ph type="title"/>
          </p:nvPr>
        </p:nvSpPr>
        <p:spPr>
          <a:xfrm>
            <a:off x="180000" y="115848"/>
            <a:ext cx="11472000" cy="468000"/>
          </a:xfrm>
        </p:spPr>
        <p:txBody>
          <a:bodyPr/>
          <a:lstStyle/>
          <a:p>
            <a:r>
              <a:rPr lang="en-US" sz="2800"/>
              <a:t>Key areas of focus – sustainability and co-financing</a:t>
            </a:r>
          </a:p>
        </p:txBody>
      </p:sp>
      <p:sp>
        <p:nvSpPr>
          <p:cNvPr id="25" name="Title 1">
            <a:extLst>
              <a:ext uri="{FF2B5EF4-FFF2-40B4-BE49-F238E27FC236}">
                <a16:creationId xmlns:a16="http://schemas.microsoft.com/office/drawing/2014/main" id="{749AB300-3D6B-5E0D-8AAE-BCC95352EB24}"/>
              </a:ext>
            </a:extLst>
          </p:cNvPr>
          <p:cNvSpPr txBox="1">
            <a:spLocks/>
          </p:cNvSpPr>
          <p:nvPr/>
        </p:nvSpPr>
        <p:spPr>
          <a:xfrm>
            <a:off x="56514" y="845582"/>
            <a:ext cx="6194242" cy="799971"/>
          </a:xfrm>
          <a:prstGeom prst="rect">
            <a:avLst/>
          </a:prstGeom>
        </p:spPr>
        <p:txBody>
          <a:bodyPr vert="horz" lIns="182880" tIns="0" rIns="182880" bIns="0" rtlCol="0" anchor="t" anchorCtr="0">
            <a:noAutofit/>
          </a:bodyPr>
          <a:lstStyle>
            <a:lvl1pPr algn="l" defTabSz="914400" rtl="0" eaLnBrk="1" latinLnBrk="0" hangingPunct="1">
              <a:lnSpc>
                <a:spcPct val="90000"/>
              </a:lnSpc>
              <a:spcBef>
                <a:spcPct val="0"/>
              </a:spcBef>
              <a:buNone/>
              <a:defRPr sz="3200" kern="1200">
                <a:solidFill>
                  <a:schemeClr val="tx1"/>
                </a:solidFill>
                <a:latin typeface="+mj-lt"/>
                <a:ea typeface="+mj-ea"/>
                <a:cs typeface="+mj-cs"/>
              </a:defRPr>
            </a:lvl1pPr>
          </a:lstStyle>
          <a:p>
            <a:pPr marL="290513" indent="-290513"/>
            <a:r>
              <a:rPr lang="en-US" sz="1600" b="1" dirty="0"/>
              <a:t>5. Lack of timely data for decision making</a:t>
            </a:r>
            <a:endParaRPr lang="en-US" sz="1600" dirty="0"/>
          </a:p>
        </p:txBody>
      </p:sp>
      <p:cxnSp>
        <p:nvCxnSpPr>
          <p:cNvPr id="29" name="Straight Connector 28">
            <a:extLst>
              <a:ext uri="{FF2B5EF4-FFF2-40B4-BE49-F238E27FC236}">
                <a16:creationId xmlns:a16="http://schemas.microsoft.com/office/drawing/2014/main" id="{1846D814-3939-3F53-92E1-E612BBCD9AFD}"/>
              </a:ext>
            </a:extLst>
          </p:cNvPr>
          <p:cNvCxnSpPr>
            <a:cxnSpLocks/>
          </p:cNvCxnSpPr>
          <p:nvPr/>
        </p:nvCxnSpPr>
        <p:spPr>
          <a:xfrm>
            <a:off x="0" y="583848"/>
            <a:ext cx="12139612" cy="0"/>
          </a:xfrm>
          <a:prstGeom prst="line">
            <a:avLst/>
          </a:prstGeom>
          <a:ln w="285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3E4E7213-8369-CFBD-8CFE-7B7CE726DBAF}"/>
              </a:ext>
            </a:extLst>
          </p:cNvPr>
          <p:cNvSpPr txBox="1"/>
          <p:nvPr/>
        </p:nvSpPr>
        <p:spPr>
          <a:xfrm>
            <a:off x="91938" y="1245567"/>
            <a:ext cx="5824062" cy="2800767"/>
          </a:xfrm>
          <a:prstGeom prst="rect">
            <a:avLst/>
          </a:prstGeom>
          <a:noFill/>
        </p:spPr>
        <p:txBody>
          <a:bodyPr wrap="square" lIns="91440" tIns="45720" rIns="91440" bIns="45720" anchor="t">
            <a:spAutoFit/>
          </a:bodyPr>
          <a:lstStyle/>
          <a:p>
            <a:pPr marL="294640" indent="-285750" algn="just">
              <a:buSzPct val="100000"/>
              <a:buFont typeface="Wingdings" panose="05000000000000000000" pitchFamily="2" charset="2"/>
              <a:buChar char="§"/>
              <a:defRPr/>
            </a:pPr>
            <a:r>
              <a:rPr lang="en-US" sz="1600" b="1" dirty="0">
                <a:latin typeface="Arial"/>
                <a:cs typeface="Arial"/>
              </a:rPr>
              <a:t>National Aids Spending Assessment (NASA) is only conducted after 2 years</a:t>
            </a:r>
            <a:r>
              <a:rPr lang="en-US" sz="1600" dirty="0">
                <a:latin typeface="Arial"/>
                <a:cs typeface="Arial"/>
              </a:rPr>
              <a:t>. The 2022 and 2023 spending on AIDS reported through NASA will only be conducted in 2024. </a:t>
            </a:r>
          </a:p>
          <a:p>
            <a:pPr marL="294640" indent="-285750" algn="just">
              <a:buSzPct val="100000"/>
              <a:buFont typeface="Wingdings" panose="05000000000000000000" pitchFamily="2" charset="2"/>
              <a:buChar char="§"/>
              <a:defRPr/>
            </a:pPr>
            <a:endParaRPr lang="en-US" sz="1600" dirty="0">
              <a:latin typeface="Arial"/>
              <a:cs typeface="Arial"/>
            </a:endParaRPr>
          </a:p>
          <a:p>
            <a:pPr marL="294640" indent="-285750" algn="just">
              <a:buSzPct val="100000"/>
              <a:buFont typeface="Wingdings" panose="05000000000000000000" pitchFamily="2" charset="2"/>
              <a:buChar char="§"/>
              <a:defRPr/>
            </a:pPr>
            <a:r>
              <a:rPr lang="en-US" sz="1600" b="1" dirty="0">
                <a:latin typeface="Arial"/>
                <a:cs typeface="Arial"/>
              </a:rPr>
              <a:t>National Health Accounts have been delayed </a:t>
            </a:r>
            <a:r>
              <a:rPr lang="en-US" sz="1600" dirty="0">
                <a:latin typeface="Arial"/>
                <a:cs typeface="Arial"/>
              </a:rPr>
              <a:t>and as such not possible to make decision driven by the actual spending on health.</a:t>
            </a:r>
          </a:p>
          <a:p>
            <a:pPr marL="294640" indent="-285750" algn="just">
              <a:buSzPct val="100000"/>
              <a:buFont typeface="Wingdings" panose="05000000000000000000" pitchFamily="2" charset="2"/>
              <a:buChar char="§"/>
              <a:defRPr/>
            </a:pPr>
            <a:endParaRPr lang="en-US" sz="1600" b="1" dirty="0">
              <a:solidFill>
                <a:prstClr val="black"/>
              </a:solidFill>
              <a:latin typeface="Arial"/>
              <a:cs typeface="Arial"/>
            </a:endParaRPr>
          </a:p>
          <a:p>
            <a:pPr marL="294640" indent="-285750" algn="just">
              <a:buSzPct val="100000"/>
              <a:buFont typeface="Wingdings" panose="05000000000000000000" pitchFamily="2" charset="2"/>
              <a:buChar char="§"/>
              <a:defRPr/>
            </a:pPr>
            <a:r>
              <a:rPr lang="en-US" sz="1600" b="1" dirty="0">
                <a:solidFill>
                  <a:prstClr val="black"/>
                </a:solidFill>
                <a:latin typeface="Arial"/>
                <a:cs typeface="Arial"/>
              </a:rPr>
              <a:t>There is no formal tracking and reporting of co-financing</a:t>
            </a:r>
            <a:r>
              <a:rPr lang="en-US" sz="1600" dirty="0">
                <a:solidFill>
                  <a:prstClr val="black"/>
                </a:solidFill>
                <a:latin typeface="Arial"/>
                <a:cs typeface="Arial"/>
              </a:rPr>
              <a:t> to the Global Fund agreed with the country.</a:t>
            </a:r>
            <a:endParaRPr lang="en-US" sz="1600" dirty="0">
              <a:solidFill>
                <a:prstClr val="black"/>
              </a:solidFill>
              <a:latin typeface="Arial" panose="020B0604020202020204" pitchFamily="34" charset="0"/>
              <a:cs typeface="Arial" panose="020B0604020202020204" pitchFamily="34" charset="0"/>
            </a:endParaRPr>
          </a:p>
        </p:txBody>
      </p:sp>
    </p:spTree>
    <p:custDataLst>
      <p:custData r:id="rId1"/>
      <p:custData r:id="rId2"/>
    </p:custDataLst>
    <p:extLst>
      <p:ext uri="{BB962C8B-B14F-4D97-AF65-F5344CB8AC3E}">
        <p14:creationId xmlns:p14="http://schemas.microsoft.com/office/powerpoint/2010/main" val="392195497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6E66EE26-2E0D-44E7-A0FD-9D7C25304C70}"/>
              </a:ext>
            </a:extLst>
          </p:cNvPr>
          <p:cNvSpPr>
            <a:spLocks noGrp="1"/>
          </p:cNvSpPr>
          <p:nvPr>
            <p:ph type="sldNum" sz="quarter" idx="12"/>
          </p:nvPr>
        </p:nvSpPr>
        <p:spPr/>
        <p:txBody>
          <a:bodyPr/>
          <a:lstStyle/>
          <a:p>
            <a:fld id="{9E2BE927-25C7-4379-86F1-C17ED9D2A7F2}" type="slidenum">
              <a:rPr lang="en-US" smtClean="0"/>
              <a:pPr/>
              <a:t>19</a:t>
            </a:fld>
            <a:endParaRPr lang="en-US"/>
          </a:p>
        </p:txBody>
      </p:sp>
      <p:sp>
        <p:nvSpPr>
          <p:cNvPr id="3" name="Title 2">
            <a:extLst>
              <a:ext uri="{FF2B5EF4-FFF2-40B4-BE49-F238E27FC236}">
                <a16:creationId xmlns:a16="http://schemas.microsoft.com/office/drawing/2014/main" id="{1255106F-BA79-40AF-99E9-66D8C6940A15}"/>
              </a:ext>
            </a:extLst>
          </p:cNvPr>
          <p:cNvSpPr>
            <a:spLocks noGrp="1"/>
          </p:cNvSpPr>
          <p:nvPr>
            <p:ph type="title"/>
          </p:nvPr>
        </p:nvSpPr>
        <p:spPr/>
        <p:txBody>
          <a:bodyPr/>
          <a:lstStyle/>
          <a:p>
            <a:r>
              <a:rPr lang="en-US"/>
              <a:t>Next Steps</a:t>
            </a:r>
          </a:p>
        </p:txBody>
      </p:sp>
      <p:sp>
        <p:nvSpPr>
          <p:cNvPr id="4" name="Text Placeholder 3">
            <a:extLst>
              <a:ext uri="{FF2B5EF4-FFF2-40B4-BE49-F238E27FC236}">
                <a16:creationId xmlns:a16="http://schemas.microsoft.com/office/drawing/2014/main" id="{A242A6EA-9832-4E28-8534-0DA79DB97E50}"/>
              </a:ext>
            </a:extLst>
          </p:cNvPr>
          <p:cNvSpPr>
            <a:spLocks noGrp="1"/>
          </p:cNvSpPr>
          <p:nvPr>
            <p:ph type="body" sz="quarter" idx="13"/>
          </p:nvPr>
        </p:nvSpPr>
        <p:spPr/>
        <p:txBody>
          <a:bodyPr/>
          <a:lstStyle/>
          <a:p>
            <a:r>
              <a:rPr lang="en-US"/>
              <a:t>Audit Timeliness</a:t>
            </a:r>
          </a:p>
        </p:txBody>
      </p:sp>
      <p:graphicFrame>
        <p:nvGraphicFramePr>
          <p:cNvPr id="5" name="Content Placeholder 6">
            <a:extLst>
              <a:ext uri="{FF2B5EF4-FFF2-40B4-BE49-F238E27FC236}">
                <a16:creationId xmlns:a16="http://schemas.microsoft.com/office/drawing/2014/main" id="{3259AB1C-73FB-BB10-A91C-26670A7108BD}"/>
              </a:ext>
            </a:extLst>
          </p:cNvPr>
          <p:cNvGraphicFramePr>
            <a:graphicFrameLocks/>
          </p:cNvGraphicFramePr>
          <p:nvPr>
            <p:extLst>
              <p:ext uri="{D42A27DB-BD31-4B8C-83A1-F6EECF244321}">
                <p14:modId xmlns:p14="http://schemas.microsoft.com/office/powerpoint/2010/main" val="824804149"/>
              </p:ext>
            </p:extLst>
          </p:nvPr>
        </p:nvGraphicFramePr>
        <p:xfrm>
          <a:off x="352326" y="1395264"/>
          <a:ext cx="7096224" cy="4478400"/>
        </p:xfrm>
        <a:graphic>
          <a:graphicData uri="http://schemas.openxmlformats.org/drawingml/2006/table">
            <a:tbl>
              <a:tblPr firstRow="1" bandRow="1"/>
              <a:tblGrid>
                <a:gridCol w="1485999">
                  <a:extLst>
                    <a:ext uri="{9D8B030D-6E8A-4147-A177-3AD203B41FA5}">
                      <a16:colId xmlns:a16="http://schemas.microsoft.com/office/drawing/2014/main" val="20000"/>
                    </a:ext>
                  </a:extLst>
                </a:gridCol>
                <a:gridCol w="5610225">
                  <a:extLst>
                    <a:ext uri="{9D8B030D-6E8A-4147-A177-3AD203B41FA5}">
                      <a16:colId xmlns:a16="http://schemas.microsoft.com/office/drawing/2014/main" val="20001"/>
                    </a:ext>
                  </a:extLst>
                </a:gridCol>
              </a:tblGrid>
              <a:tr h="265281">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algn="ctr">
                        <a:lnSpc>
                          <a:spcPct val="100000"/>
                        </a:lnSpc>
                        <a:spcAft>
                          <a:spcPts val="0"/>
                        </a:spcAft>
                      </a:pPr>
                      <a:r>
                        <a:rPr lang="en-US" sz="1300" noProof="0">
                          <a:solidFill>
                            <a:schemeClr val="bg1"/>
                          </a:solidFill>
                          <a:effectLst/>
                          <a:latin typeface="+mn-lt"/>
                        </a:rPr>
                        <a:t>Dates</a:t>
                      </a:r>
                      <a:endParaRPr lang="en-US" sz="1300" noProof="0">
                        <a:solidFill>
                          <a:schemeClr val="bg1"/>
                        </a:solidFill>
                        <a:effectLst/>
                        <a:latin typeface="+mn-lt"/>
                        <a:ea typeface="Calibri" panose="020F0502020204030204" pitchFamily="34" charset="0"/>
                        <a:cs typeface="Times New Roman" panose="02020603050405020304" pitchFamily="18" charset="0"/>
                      </a:endParaRPr>
                    </a:p>
                  </a:txBody>
                  <a:tcPr marL="72000" marR="72000" marT="36000" marB="3600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300" noProof="0">
                          <a:solidFill>
                            <a:schemeClr val="bg1"/>
                          </a:solidFill>
                          <a:effectLst/>
                          <a:latin typeface="+mn-lt"/>
                        </a:rPr>
                        <a:t>Details</a:t>
                      </a:r>
                      <a:endParaRPr lang="en-US" sz="1300" b="1" kern="1200" noProof="0">
                        <a:solidFill>
                          <a:schemeClr val="bg1"/>
                        </a:solidFill>
                        <a:effectLst/>
                        <a:latin typeface="+mn-lt"/>
                        <a:ea typeface="Calibri" panose="020F0502020204030204" pitchFamily="34" charset="0"/>
                        <a:cs typeface="Times New Roman" panose="02020603050405020304" pitchFamily="18" charset="0"/>
                      </a:endParaRPr>
                    </a:p>
                  </a:txBody>
                  <a:tcPr marL="72000" marR="72000" marT="36000" marB="3600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extLst>
                  <a:ext uri="{0D108BD9-81ED-4DB2-BD59-A6C34878D82A}">
                    <a16:rowId xmlns:a16="http://schemas.microsoft.com/office/drawing/2014/main" val="10000"/>
                  </a:ext>
                </a:extLst>
              </a:tr>
              <a:tr h="737992">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a:spcAft>
                          <a:spcPts val="0"/>
                        </a:spcAft>
                      </a:pPr>
                      <a:r>
                        <a:rPr lang="en-US" sz="1400" kern="1200" noProof="0">
                          <a:solidFill>
                            <a:schemeClr val="tx1"/>
                          </a:solidFill>
                          <a:latin typeface="+mn-lt"/>
                          <a:ea typeface="+mn-ea"/>
                          <a:cs typeface="+mn-cs"/>
                        </a:rPr>
                        <a:t>04 Sep</a:t>
                      </a:r>
                      <a:r>
                        <a:rPr lang="en-US" sz="1400" kern="1200" baseline="0" noProof="0">
                          <a:solidFill>
                            <a:schemeClr val="tx1"/>
                          </a:solidFill>
                          <a:latin typeface="+mn-lt"/>
                          <a:ea typeface="+mn-ea"/>
                          <a:cs typeface="+mn-cs"/>
                        </a:rPr>
                        <a:t> - 06</a:t>
                      </a:r>
                      <a:r>
                        <a:rPr lang="en-US" sz="1400" kern="1200" noProof="0">
                          <a:solidFill>
                            <a:schemeClr val="tx1"/>
                          </a:solidFill>
                          <a:latin typeface="+mn-lt"/>
                          <a:ea typeface="+mn-ea"/>
                          <a:cs typeface="+mn-cs"/>
                        </a:rPr>
                        <a:t> Oct</a:t>
                      </a:r>
                    </a:p>
                  </a:txBody>
                  <a:tcPr marL="72000" marR="72000" marT="36000" marB="3600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spcAft>
                          <a:spcPts val="0"/>
                        </a:spcAft>
                      </a:pPr>
                      <a:r>
                        <a:rPr lang="en-US" sz="1400" b="1" kern="1200" noProof="0">
                          <a:solidFill>
                            <a:schemeClr val="tx1"/>
                          </a:solidFill>
                          <a:latin typeface="+mn-lt"/>
                          <a:ea typeface="+mn-ea"/>
                          <a:cs typeface="+mn-cs"/>
                        </a:rPr>
                        <a:t>Stage 1: </a:t>
                      </a:r>
                      <a:r>
                        <a:rPr lang="en-US" sz="1400" kern="1200" noProof="0">
                          <a:solidFill>
                            <a:schemeClr val="tx1"/>
                          </a:solidFill>
                          <a:latin typeface="+mn-lt"/>
                          <a:ea typeface="+mn-ea"/>
                          <a:cs typeface="+mn-cs"/>
                        </a:rPr>
                        <a:t>Planning &amp; audit scoping</a:t>
                      </a:r>
                      <a:r>
                        <a:rPr lang="en-US" sz="1400" kern="1200" baseline="0" noProof="0">
                          <a:solidFill>
                            <a:schemeClr val="tx1"/>
                          </a:solidFill>
                          <a:latin typeface="+mn-lt"/>
                          <a:ea typeface="+mn-ea"/>
                          <a:cs typeface="+mn-cs"/>
                        </a:rPr>
                        <a:t> (desk review)</a:t>
                      </a:r>
                    </a:p>
                  </a:txBody>
                  <a:tcPr marL="72000" marR="72000" marT="36000" marB="3600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1"/>
                  </a:ext>
                </a:extLst>
              </a:tr>
              <a:tr h="344628">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a:spcAft>
                          <a:spcPts val="0"/>
                        </a:spcAft>
                      </a:pPr>
                      <a:r>
                        <a:rPr lang="en-US" sz="1400" kern="1200" noProof="0" dirty="0">
                          <a:solidFill>
                            <a:schemeClr val="tx1"/>
                          </a:solidFill>
                          <a:latin typeface="+mn-lt"/>
                          <a:ea typeface="+mn-ea"/>
                          <a:cs typeface="+mn-cs"/>
                        </a:rPr>
                        <a:t>09 Oct – 26 Oct</a:t>
                      </a:r>
                    </a:p>
                  </a:txBody>
                  <a:tcPr marL="72000" marR="72000" marT="36000" marB="3600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spcAft>
                          <a:spcPts val="0"/>
                        </a:spcAft>
                      </a:pPr>
                      <a:r>
                        <a:rPr lang="en-US" sz="1400" kern="1200" noProof="0">
                          <a:solidFill>
                            <a:schemeClr val="tx1"/>
                          </a:solidFill>
                          <a:latin typeface="+mn-lt"/>
                          <a:ea typeface="+mn-ea"/>
                          <a:cs typeface="+mn-cs"/>
                        </a:rPr>
                        <a:t>Stage 2: Audit in-country fieldwork &amp; debriefs</a:t>
                      </a:r>
                    </a:p>
                  </a:txBody>
                  <a:tcPr marL="72000" marR="72000" marT="36000" marB="3600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2"/>
                  </a:ext>
                </a:extLst>
              </a:tr>
              <a:tr h="657384">
                <a:tc rowSpan="3">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a:spcAft>
                          <a:spcPts val="0"/>
                        </a:spcAft>
                      </a:pPr>
                      <a:r>
                        <a:rPr lang="en-US" sz="1400" kern="1200" noProof="0">
                          <a:solidFill>
                            <a:schemeClr val="tx1"/>
                          </a:solidFill>
                          <a:latin typeface="+mn-lt"/>
                          <a:ea typeface="+mn-ea"/>
                          <a:cs typeface="+mn-cs"/>
                        </a:rPr>
                        <a:t>30 Oct – 17 Dec</a:t>
                      </a:r>
                    </a:p>
                  </a:txBody>
                  <a:tcPr marL="72000" marR="72000" marT="36000" marB="3600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spcAft>
                          <a:spcPts val="0"/>
                        </a:spcAft>
                      </a:pPr>
                      <a:r>
                        <a:rPr lang="en-US" sz="1400" b="1" kern="1200" noProof="0">
                          <a:solidFill>
                            <a:schemeClr val="tx1"/>
                          </a:solidFill>
                          <a:latin typeface="+mn-lt"/>
                          <a:ea typeface="+mn-ea"/>
                          <a:cs typeface="+mn-cs"/>
                        </a:rPr>
                        <a:t>Stage 3: </a:t>
                      </a:r>
                      <a:r>
                        <a:rPr lang="en-US" sz="1400" kern="1200" noProof="0">
                          <a:solidFill>
                            <a:schemeClr val="tx1"/>
                          </a:solidFill>
                          <a:latin typeface="+mn-lt"/>
                          <a:ea typeface="+mn-ea"/>
                          <a:cs typeface="+mn-cs"/>
                        </a:rPr>
                        <a:t>Draft </a:t>
                      </a:r>
                      <a:r>
                        <a:rPr lang="en-US" sz="1400" kern="1200" baseline="0" noProof="0">
                          <a:solidFill>
                            <a:schemeClr val="tx1"/>
                          </a:solidFill>
                          <a:latin typeface="+mn-lt"/>
                          <a:ea typeface="+mn-ea"/>
                          <a:cs typeface="+mn-cs"/>
                        </a:rPr>
                        <a:t>r</a:t>
                      </a:r>
                      <a:r>
                        <a:rPr lang="en-US" sz="1400" kern="1200" noProof="0">
                          <a:solidFill>
                            <a:schemeClr val="tx1"/>
                          </a:solidFill>
                          <a:latin typeface="+mn-lt"/>
                          <a:ea typeface="+mn-ea"/>
                          <a:cs typeface="+mn-cs"/>
                        </a:rPr>
                        <a:t>eport </a:t>
                      </a:r>
                      <a:r>
                        <a:rPr lang="en-US" sz="1400" kern="1200" baseline="0" noProof="0">
                          <a:solidFill>
                            <a:schemeClr val="tx1"/>
                          </a:solidFill>
                          <a:latin typeface="+mn-lt"/>
                          <a:ea typeface="+mn-ea"/>
                          <a:cs typeface="+mn-cs"/>
                        </a:rPr>
                        <a:t>prepared, </a:t>
                      </a:r>
                      <a:r>
                        <a:rPr lang="en-US" sz="1400" kern="1200" noProof="0">
                          <a:solidFill>
                            <a:schemeClr val="tx1"/>
                          </a:solidFill>
                          <a:latin typeface="+mn-lt"/>
                          <a:ea typeface="+mn-ea"/>
                          <a:cs typeface="+mn-cs"/>
                        </a:rPr>
                        <a:t>shared and reconciled with</a:t>
                      </a:r>
                      <a:r>
                        <a:rPr lang="en-US" sz="1400" kern="1200" baseline="0" noProof="0">
                          <a:solidFill>
                            <a:schemeClr val="tx1"/>
                          </a:solidFill>
                          <a:latin typeface="+mn-lt"/>
                          <a:ea typeface="+mn-ea"/>
                          <a:cs typeface="+mn-cs"/>
                        </a:rPr>
                        <a:t> Global Fund Secretariat</a:t>
                      </a:r>
                      <a:endParaRPr lang="en-US" sz="1400" kern="1200" noProof="0">
                        <a:solidFill>
                          <a:schemeClr val="tx1"/>
                        </a:solidFill>
                        <a:latin typeface="+mn-lt"/>
                        <a:ea typeface="+mn-ea"/>
                        <a:cs typeface="+mn-cs"/>
                      </a:endParaRPr>
                    </a:p>
                  </a:txBody>
                  <a:tcPr marL="72000" marR="72000" marT="36000" marB="3600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3"/>
                  </a:ext>
                </a:extLst>
              </a:tr>
              <a:tr h="726180">
                <a:tc vMerge="1">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spcAft>
                          <a:spcPts val="0"/>
                        </a:spcAft>
                      </a:pPr>
                      <a:endParaRPr lang="en-US" sz="1400" i="1" kern="1200" noProof="0">
                        <a:solidFill>
                          <a:schemeClr val="tx1"/>
                        </a:solidFill>
                        <a:latin typeface="+mn-lt"/>
                        <a:ea typeface="+mn-ea"/>
                        <a:cs typeface="+mn-cs"/>
                      </a:endParaRPr>
                    </a:p>
                  </a:txBody>
                  <a:tcPr marL="72000" marR="72000" marT="36000" marB="3600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spcAft>
                          <a:spcPts val="0"/>
                        </a:spcAft>
                      </a:pPr>
                      <a:r>
                        <a:rPr lang="en-US" sz="1400" b="1" kern="1200" noProof="0">
                          <a:solidFill>
                            <a:schemeClr val="tx1"/>
                          </a:solidFill>
                          <a:latin typeface="+mn-lt"/>
                          <a:ea typeface="+mn-ea"/>
                          <a:cs typeface="+mn-cs"/>
                        </a:rPr>
                        <a:t>Stage</a:t>
                      </a:r>
                      <a:r>
                        <a:rPr lang="en-US" sz="1400" b="1" kern="1200" baseline="0" noProof="0">
                          <a:solidFill>
                            <a:schemeClr val="tx1"/>
                          </a:solidFill>
                          <a:latin typeface="+mn-lt"/>
                          <a:ea typeface="+mn-ea"/>
                          <a:cs typeface="+mn-cs"/>
                        </a:rPr>
                        <a:t> 4: </a:t>
                      </a:r>
                      <a:r>
                        <a:rPr lang="en-US" sz="1400" kern="1200" baseline="0" noProof="0">
                          <a:solidFill>
                            <a:schemeClr val="tx1"/>
                          </a:solidFill>
                          <a:latin typeface="+mn-lt"/>
                          <a:ea typeface="+mn-ea"/>
                          <a:cs typeface="+mn-cs"/>
                        </a:rPr>
                        <a:t>Draft report shared/ reconciled with the PRs</a:t>
                      </a:r>
                      <a:endParaRPr lang="en-US" sz="1400" i="0" kern="1200" noProof="0">
                        <a:solidFill>
                          <a:schemeClr val="tx1"/>
                        </a:solidFill>
                        <a:latin typeface="+mn-lt"/>
                        <a:ea typeface="+mn-ea"/>
                        <a:cs typeface="+mn-cs"/>
                      </a:endParaRPr>
                    </a:p>
                  </a:txBody>
                  <a:tcPr marL="72000" marR="72000" marT="36000" marB="3600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4"/>
                  </a:ext>
                </a:extLst>
              </a:tr>
              <a:tr h="288032">
                <a:tc vMerge="1">
                  <a:txBody>
                    <a:bodyPr/>
                    <a:lstStyle/>
                    <a:p>
                      <a:pPr>
                        <a:spcAft>
                          <a:spcPts val="0"/>
                        </a:spcAft>
                      </a:pPr>
                      <a:endParaRPr lang="en-US" sz="1400" i="1" u="none" kern="1200" noProof="0">
                        <a:solidFill>
                          <a:schemeClr val="tx1"/>
                        </a:solidFill>
                        <a:latin typeface="+mn-lt"/>
                        <a:ea typeface="+mn-ea"/>
                        <a:cs typeface="+mn-cs"/>
                      </a:endParaRPr>
                    </a:p>
                  </a:txBody>
                  <a:tcPr marL="72000" marR="72000" marT="36000" marB="3600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b="1" i="0" kern="1200" noProof="0">
                          <a:solidFill>
                            <a:schemeClr val="tx1"/>
                          </a:solidFill>
                          <a:latin typeface="+mn-lt"/>
                          <a:ea typeface="+mn-ea"/>
                          <a:cs typeface="+mn-cs"/>
                        </a:rPr>
                        <a:t>Stage 5: </a:t>
                      </a:r>
                      <a:r>
                        <a:rPr lang="en-US" sz="1400" kern="1200" baseline="0" noProof="0">
                          <a:solidFill>
                            <a:schemeClr val="tx1"/>
                          </a:solidFill>
                          <a:latin typeface="+mn-lt"/>
                          <a:ea typeface="+mn-ea"/>
                          <a:cs typeface="+mn-cs"/>
                        </a:rPr>
                        <a:t>Draft report shared/ reconciled with CCM</a:t>
                      </a:r>
                      <a:endParaRPr lang="en-US" sz="1400" i="0" kern="1200" noProof="0">
                        <a:solidFill>
                          <a:schemeClr val="tx1"/>
                        </a:solidFill>
                        <a:latin typeface="+mn-lt"/>
                        <a:ea typeface="+mn-ea"/>
                        <a:cs typeface="+mn-cs"/>
                      </a:endParaRPr>
                    </a:p>
                  </a:txBody>
                  <a:tcPr marL="72000" marR="72000" marT="36000" marB="3600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7"/>
                  </a:ext>
                </a:extLst>
              </a:tr>
              <a:tr h="792088">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a:spcAft>
                          <a:spcPts val="0"/>
                        </a:spcAft>
                      </a:pPr>
                      <a:r>
                        <a:rPr lang="en-US" sz="1400" i="0" u="none" kern="1200" baseline="0" noProof="0">
                          <a:solidFill>
                            <a:schemeClr val="tx1"/>
                          </a:solidFill>
                          <a:latin typeface="+mn-lt"/>
                          <a:ea typeface="+mn-ea"/>
                          <a:cs typeface="+mn-cs"/>
                        </a:rPr>
                        <a:t>Jan 2024 (est.)</a:t>
                      </a:r>
                      <a:endParaRPr lang="en-US" sz="1400" i="0" u="none" kern="1200" noProof="0">
                        <a:solidFill>
                          <a:schemeClr val="tx1"/>
                        </a:solidFill>
                        <a:latin typeface="+mn-lt"/>
                        <a:ea typeface="+mn-ea"/>
                        <a:cs typeface="+mn-cs"/>
                      </a:endParaRPr>
                    </a:p>
                  </a:txBody>
                  <a:tcPr marL="72000" marR="72000" marT="36000" marB="3600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b="1" kern="1200" noProof="0">
                          <a:solidFill>
                            <a:schemeClr val="tx1"/>
                          </a:solidFill>
                          <a:latin typeface="+mn-lt"/>
                          <a:ea typeface="+mn-ea"/>
                          <a:cs typeface="+mn-cs"/>
                        </a:rPr>
                        <a:t>Stage 6: </a:t>
                      </a:r>
                      <a:r>
                        <a:rPr lang="en-US" sz="1400" kern="1200" noProof="0">
                          <a:solidFill>
                            <a:schemeClr val="tx1"/>
                          </a:solidFill>
                          <a:latin typeface="+mn-lt"/>
                          <a:ea typeface="+mn-ea"/>
                          <a:cs typeface="+mn-cs"/>
                        </a:rPr>
                        <a:t>Final audit report</a:t>
                      </a:r>
                      <a:r>
                        <a:rPr lang="en-US" sz="1400" kern="1200" baseline="0" noProof="0">
                          <a:solidFill>
                            <a:schemeClr val="tx1"/>
                          </a:solidFill>
                          <a:latin typeface="+mn-lt"/>
                          <a:ea typeface="+mn-ea"/>
                          <a:cs typeface="+mn-cs"/>
                        </a:rPr>
                        <a:t> prepared/ shared with the Global Fund’s Management Executive Committee</a:t>
                      </a:r>
                      <a:endParaRPr lang="en-US" sz="1400" i="1" kern="1200" noProof="0">
                        <a:solidFill>
                          <a:schemeClr val="tx1"/>
                        </a:solidFill>
                        <a:latin typeface="+mn-lt"/>
                        <a:ea typeface="+mn-ea"/>
                        <a:cs typeface="+mn-cs"/>
                      </a:endParaRPr>
                    </a:p>
                  </a:txBody>
                  <a:tcPr marL="72000" marR="72000" marT="36000" marB="3600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5"/>
                  </a:ext>
                </a:extLst>
              </a:tr>
              <a:tr h="661976">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a:spcAft>
                          <a:spcPts val="0"/>
                        </a:spcAft>
                      </a:pPr>
                      <a:r>
                        <a:rPr lang="en-US" sz="1400" i="0" u="none" kern="1200" noProof="0">
                          <a:solidFill>
                            <a:schemeClr val="tx1"/>
                          </a:solidFill>
                          <a:latin typeface="+mn-lt"/>
                          <a:ea typeface="+mn-ea"/>
                          <a:cs typeface="+mn-cs"/>
                        </a:rPr>
                        <a:t>Jan </a:t>
                      </a:r>
                      <a:r>
                        <a:rPr lang="en-US" sz="1400" i="0" u="none" kern="1200" baseline="0" noProof="0">
                          <a:solidFill>
                            <a:schemeClr val="tx1"/>
                          </a:solidFill>
                          <a:latin typeface="+mn-lt"/>
                          <a:ea typeface="+mn-ea"/>
                          <a:cs typeface="+mn-cs"/>
                        </a:rPr>
                        <a:t>2024 (est.)</a:t>
                      </a:r>
                      <a:endParaRPr lang="en-US" sz="1400" i="1" kern="1200" noProof="0">
                        <a:solidFill>
                          <a:schemeClr val="tx1"/>
                        </a:solidFill>
                        <a:latin typeface="+mn-lt"/>
                        <a:ea typeface="+mn-ea"/>
                        <a:cs typeface="+mn-cs"/>
                      </a:endParaRPr>
                    </a:p>
                  </a:txBody>
                  <a:tcPr marL="72000" marR="72000" marT="36000" marB="3600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spcAft>
                          <a:spcPts val="0"/>
                        </a:spcAft>
                      </a:pPr>
                      <a:r>
                        <a:rPr lang="en-US" sz="1400" b="1" kern="1200" noProof="0" dirty="0">
                          <a:solidFill>
                            <a:schemeClr val="tx1"/>
                          </a:solidFill>
                          <a:latin typeface="+mn-lt"/>
                          <a:ea typeface="+mn-ea"/>
                          <a:cs typeface="+mn-cs"/>
                        </a:rPr>
                        <a:t>Stage 7: </a:t>
                      </a:r>
                      <a:r>
                        <a:rPr lang="en-US" sz="1400" kern="1200" noProof="0" dirty="0">
                          <a:solidFill>
                            <a:schemeClr val="tx1"/>
                          </a:solidFill>
                          <a:latin typeface="+mn-lt"/>
                          <a:ea typeface="+mn-ea"/>
                          <a:cs typeface="+mn-cs"/>
                        </a:rPr>
                        <a:t>Final</a:t>
                      </a:r>
                      <a:r>
                        <a:rPr lang="en-US" sz="1400" kern="1200" baseline="0" noProof="0" dirty="0">
                          <a:solidFill>
                            <a:schemeClr val="tx1"/>
                          </a:solidFill>
                          <a:latin typeface="+mn-lt"/>
                          <a:ea typeface="+mn-ea"/>
                          <a:cs typeface="+mn-cs"/>
                        </a:rPr>
                        <a:t> audit report published on The Global Fund website</a:t>
                      </a:r>
                      <a:endParaRPr lang="en-US" sz="1400" kern="1200" noProof="0" dirty="0">
                        <a:solidFill>
                          <a:schemeClr val="tx1"/>
                        </a:solidFill>
                        <a:latin typeface="+mn-lt"/>
                        <a:ea typeface="+mn-ea"/>
                        <a:cs typeface="+mn-cs"/>
                      </a:endParaRPr>
                    </a:p>
                  </a:txBody>
                  <a:tcPr marL="72000" marR="72000" marT="36000" marB="3600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6"/>
                  </a:ext>
                </a:extLst>
              </a:tr>
            </a:tbl>
          </a:graphicData>
        </a:graphic>
      </p:graphicFrame>
      <p:pic>
        <p:nvPicPr>
          <p:cNvPr id="6" name="Picture 5">
            <a:extLst>
              <a:ext uri="{FF2B5EF4-FFF2-40B4-BE49-F238E27FC236}">
                <a16:creationId xmlns:a16="http://schemas.microsoft.com/office/drawing/2014/main" id="{138708D0-437F-708F-3942-F45747C021F4}"/>
              </a:ext>
            </a:extLst>
          </p:cNvPr>
          <p:cNvPicPr>
            <a:picLocks noChangeAspect="1"/>
          </p:cNvPicPr>
          <p:nvPr/>
        </p:nvPicPr>
        <p:blipFill>
          <a:blip r:embed="rId4"/>
          <a:stretch>
            <a:fillRect/>
          </a:stretch>
        </p:blipFill>
        <p:spPr>
          <a:xfrm>
            <a:off x="7662166" y="371423"/>
            <a:ext cx="4169472" cy="5743627"/>
          </a:xfrm>
          <a:prstGeom prst="rect">
            <a:avLst/>
          </a:prstGeom>
          <a:ln>
            <a:solidFill>
              <a:schemeClr val="tx1"/>
            </a:solidFill>
          </a:ln>
        </p:spPr>
      </p:pic>
      <p:sp>
        <p:nvSpPr>
          <p:cNvPr id="7" name="Rectangle 6">
            <a:extLst>
              <a:ext uri="{FF2B5EF4-FFF2-40B4-BE49-F238E27FC236}">
                <a16:creationId xmlns:a16="http://schemas.microsoft.com/office/drawing/2014/main" id="{79A93A70-DB23-4FFD-43F1-C1D4DD983839}"/>
              </a:ext>
            </a:extLst>
          </p:cNvPr>
          <p:cNvSpPr/>
          <p:nvPr/>
        </p:nvSpPr>
        <p:spPr>
          <a:xfrm>
            <a:off x="352326" y="2384061"/>
            <a:ext cx="7096224" cy="362316"/>
          </a:xfrm>
          <a:prstGeom prst="rect">
            <a:avLst/>
          </a:prstGeom>
          <a:solidFill>
            <a:schemeClr val="bg1">
              <a:lumMod val="50000"/>
              <a:alpha val="17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Tree>
    <p:custDataLst>
      <p:custData r:id="rId1"/>
      <p:custData r:id="rId2"/>
    </p:custDataLst>
    <p:extLst>
      <p:ext uri="{BB962C8B-B14F-4D97-AF65-F5344CB8AC3E}">
        <p14:creationId xmlns:p14="http://schemas.microsoft.com/office/powerpoint/2010/main" val="378275298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6E66EE26-2E0D-44E7-A0FD-9D7C25304C70}"/>
              </a:ext>
            </a:extLst>
          </p:cNvPr>
          <p:cNvSpPr>
            <a:spLocks noGrp="1"/>
          </p:cNvSpPr>
          <p:nvPr>
            <p:ph type="sldNum" sz="quarter" idx="12"/>
          </p:nvPr>
        </p:nvSpPr>
        <p:spPr/>
        <p:txBody>
          <a:bodyPr/>
          <a:lstStyle/>
          <a:p>
            <a:fld id="{9E2BE927-25C7-4379-86F1-C17ED9D2A7F2}" type="slidenum">
              <a:rPr lang="en-US" smtClean="0"/>
              <a:pPr/>
              <a:t>2</a:t>
            </a:fld>
            <a:endParaRPr lang="en-US"/>
          </a:p>
        </p:txBody>
      </p:sp>
      <p:sp>
        <p:nvSpPr>
          <p:cNvPr id="3" name="Title 2">
            <a:extLst>
              <a:ext uri="{FF2B5EF4-FFF2-40B4-BE49-F238E27FC236}">
                <a16:creationId xmlns:a16="http://schemas.microsoft.com/office/drawing/2014/main" id="{1255106F-BA79-40AF-99E9-66D8C6940A15}"/>
              </a:ext>
            </a:extLst>
          </p:cNvPr>
          <p:cNvSpPr>
            <a:spLocks noGrp="1"/>
          </p:cNvSpPr>
          <p:nvPr>
            <p:ph type="title"/>
          </p:nvPr>
        </p:nvSpPr>
        <p:spPr/>
        <p:txBody>
          <a:bodyPr/>
          <a:lstStyle/>
          <a:p>
            <a:r>
              <a:rPr lang="en-US"/>
              <a:t>The Office of the Inspector General (OIG)</a:t>
            </a:r>
          </a:p>
        </p:txBody>
      </p:sp>
      <p:sp>
        <p:nvSpPr>
          <p:cNvPr id="4" name="Text Placeholder 3">
            <a:extLst>
              <a:ext uri="{FF2B5EF4-FFF2-40B4-BE49-F238E27FC236}">
                <a16:creationId xmlns:a16="http://schemas.microsoft.com/office/drawing/2014/main" id="{A242A6EA-9832-4E28-8534-0DA79DB97E50}"/>
              </a:ext>
            </a:extLst>
          </p:cNvPr>
          <p:cNvSpPr>
            <a:spLocks noGrp="1"/>
          </p:cNvSpPr>
          <p:nvPr>
            <p:ph type="body" sz="quarter" idx="13"/>
          </p:nvPr>
        </p:nvSpPr>
        <p:spPr/>
        <p:txBody>
          <a:bodyPr/>
          <a:lstStyle/>
          <a:p>
            <a:r>
              <a:rPr lang="en-US" sz="2800"/>
              <a:t>Facts and Figures</a:t>
            </a:r>
          </a:p>
        </p:txBody>
      </p:sp>
      <p:pic>
        <p:nvPicPr>
          <p:cNvPr id="5" name="Picture 4">
            <a:extLst>
              <a:ext uri="{FF2B5EF4-FFF2-40B4-BE49-F238E27FC236}">
                <a16:creationId xmlns:a16="http://schemas.microsoft.com/office/drawing/2014/main" id="{AEA1448C-19BB-CE32-091B-EB61A008C3BE}"/>
              </a:ext>
            </a:extLst>
          </p:cNvPr>
          <p:cNvPicPr>
            <a:picLocks noChangeAspect="1"/>
          </p:cNvPicPr>
          <p:nvPr/>
        </p:nvPicPr>
        <p:blipFill>
          <a:blip r:embed="rId4"/>
          <a:stretch>
            <a:fillRect/>
          </a:stretch>
        </p:blipFill>
        <p:spPr>
          <a:xfrm>
            <a:off x="7632905" y="1290721"/>
            <a:ext cx="3750445" cy="4964337"/>
          </a:xfrm>
          <a:prstGeom prst="rect">
            <a:avLst/>
          </a:prstGeom>
          <a:ln>
            <a:solidFill>
              <a:schemeClr val="tx1"/>
            </a:solidFill>
          </a:ln>
        </p:spPr>
      </p:pic>
      <p:sp>
        <p:nvSpPr>
          <p:cNvPr id="8" name="TextBox 7">
            <a:extLst>
              <a:ext uri="{FF2B5EF4-FFF2-40B4-BE49-F238E27FC236}">
                <a16:creationId xmlns:a16="http://schemas.microsoft.com/office/drawing/2014/main" id="{56C9B23D-E5BB-6610-00F6-5B6ADFF78305}"/>
              </a:ext>
            </a:extLst>
          </p:cNvPr>
          <p:cNvSpPr txBox="1"/>
          <p:nvPr/>
        </p:nvSpPr>
        <p:spPr>
          <a:xfrm>
            <a:off x="350926" y="1413783"/>
            <a:ext cx="6846579" cy="4598182"/>
          </a:xfrm>
          <a:prstGeom prst="rect">
            <a:avLst/>
          </a:prstGeom>
          <a:noFill/>
        </p:spPr>
        <p:txBody>
          <a:bodyPr wrap="square">
            <a:spAutoFit/>
          </a:bodyPr>
          <a:lstStyle/>
          <a:p>
            <a:pPr marL="344488" indent="-290513">
              <a:buFont typeface="Wingdings" panose="05000000000000000000" pitchFamily="2" charset="2"/>
              <a:buChar char="§"/>
              <a:tabLst>
                <a:tab pos="171450" algn="l"/>
              </a:tabLst>
            </a:pPr>
            <a:r>
              <a:rPr lang="en-US" sz="1800" kern="0" spc="40">
                <a:solidFill>
                  <a:schemeClr val="tx1"/>
                </a:solidFill>
                <a:cs typeface="Arial"/>
              </a:rPr>
              <a:t>The OIG exists to </a:t>
            </a:r>
            <a:r>
              <a:rPr lang="en-US" sz="1800" b="1" kern="0" spc="40">
                <a:solidFill>
                  <a:schemeClr val="tx1"/>
                </a:solidFill>
                <a:cs typeface="Arial"/>
              </a:rPr>
              <a:t>safeguard the assets, investments, reputation and sustainability of the Global Fund</a:t>
            </a:r>
          </a:p>
          <a:p>
            <a:pPr marL="344488" indent="-290513">
              <a:buFont typeface="Wingdings" panose="05000000000000000000" pitchFamily="2" charset="2"/>
              <a:buChar char="§"/>
              <a:tabLst>
                <a:tab pos="171450" algn="l"/>
              </a:tabLst>
            </a:pPr>
            <a:endParaRPr lang="en-US" sz="1800" b="1" kern="0" spc="40">
              <a:solidFill>
                <a:schemeClr val="tx1"/>
              </a:solidFill>
              <a:cs typeface="Arial"/>
            </a:endParaRPr>
          </a:p>
          <a:p>
            <a:pPr marL="344488" indent="-290513">
              <a:buFont typeface="Wingdings" panose="05000000000000000000" pitchFamily="2" charset="2"/>
              <a:buChar char="§"/>
              <a:tabLst>
                <a:tab pos="171450" algn="l"/>
              </a:tabLst>
            </a:pPr>
            <a:r>
              <a:rPr lang="en-AU" sz="1800" b="1">
                <a:solidFill>
                  <a:schemeClr val="tx1"/>
                </a:solidFill>
              </a:rPr>
              <a:t>An independent office </a:t>
            </a:r>
            <a:r>
              <a:rPr lang="en-AU" sz="1800">
                <a:solidFill>
                  <a:schemeClr val="tx1"/>
                </a:solidFill>
              </a:rPr>
              <a:t>set up in 2005, </a:t>
            </a:r>
            <a:r>
              <a:rPr lang="en-AU" b="1">
                <a:solidFill>
                  <a:schemeClr val="tx1"/>
                </a:solidFill>
              </a:rPr>
              <a:t>reporting directly to Global Fund Board</a:t>
            </a:r>
          </a:p>
          <a:p>
            <a:pPr marL="344488" indent="-290513">
              <a:buFont typeface="Wingdings" panose="05000000000000000000" pitchFamily="2" charset="2"/>
              <a:buChar char="§"/>
              <a:tabLst>
                <a:tab pos="171450" algn="l"/>
              </a:tabLst>
            </a:pPr>
            <a:endParaRPr lang="en-AU" b="1">
              <a:solidFill>
                <a:schemeClr val="tx1"/>
              </a:solidFill>
            </a:endParaRPr>
          </a:p>
          <a:p>
            <a:pPr marL="344488" indent="-290513">
              <a:lnSpc>
                <a:spcPct val="130000"/>
              </a:lnSpc>
              <a:spcAft>
                <a:spcPts val="1800"/>
              </a:spcAft>
              <a:buFont typeface="Wingdings" panose="05000000000000000000" pitchFamily="2" charset="2"/>
              <a:buChar char="§"/>
              <a:tabLst>
                <a:tab pos="171450" algn="l"/>
              </a:tabLst>
            </a:pPr>
            <a:r>
              <a:rPr lang="en-AU" sz="1800" b="1">
                <a:solidFill>
                  <a:schemeClr val="tx1"/>
                </a:solidFill>
              </a:rPr>
              <a:t>Promotes good practice</a:t>
            </a:r>
            <a:r>
              <a:rPr lang="en-AU" sz="1800">
                <a:solidFill>
                  <a:schemeClr val="tx1"/>
                </a:solidFill>
              </a:rPr>
              <a:t>, reduces risk and condemns abuse</a:t>
            </a:r>
          </a:p>
          <a:p>
            <a:pPr marL="344488" indent="-290513">
              <a:lnSpc>
                <a:spcPct val="130000"/>
              </a:lnSpc>
              <a:spcAft>
                <a:spcPts val="1800"/>
              </a:spcAft>
              <a:buFont typeface="Wingdings" panose="05000000000000000000" pitchFamily="2" charset="2"/>
              <a:buChar char="§"/>
              <a:tabLst>
                <a:tab pos="171450" algn="l"/>
              </a:tabLst>
            </a:pPr>
            <a:r>
              <a:rPr lang="en-AU" sz="1800" b="1">
                <a:solidFill>
                  <a:schemeClr val="tx1"/>
                </a:solidFill>
              </a:rPr>
              <a:t>A team of 52 people:</a:t>
            </a:r>
            <a:r>
              <a:rPr lang="en-AU" sz="1800">
                <a:solidFill>
                  <a:schemeClr val="tx1"/>
                </a:solidFill>
              </a:rPr>
              <a:t> auditors, investigators &amp; support staff</a:t>
            </a:r>
          </a:p>
          <a:p>
            <a:pPr marL="344488" indent="-290513">
              <a:buFont typeface="Wingdings" panose="05000000000000000000" pitchFamily="2" charset="2"/>
              <a:buChar char="§"/>
              <a:tabLst>
                <a:tab pos="171450" algn="l"/>
              </a:tabLst>
            </a:pPr>
            <a:r>
              <a:rPr lang="en-AU" sz="1800">
                <a:solidFill>
                  <a:schemeClr val="tx1"/>
                </a:solidFill>
              </a:rPr>
              <a:t>Around </a:t>
            </a:r>
            <a:r>
              <a:rPr lang="en-AU" sz="1800" b="1">
                <a:solidFill>
                  <a:schemeClr val="tx1"/>
                </a:solidFill>
              </a:rPr>
              <a:t>20-25 audit, investigation &amp; advisory reports </a:t>
            </a:r>
            <a:r>
              <a:rPr lang="en-AU" sz="1800">
                <a:solidFill>
                  <a:schemeClr val="tx1"/>
                </a:solidFill>
              </a:rPr>
              <a:t>per year</a:t>
            </a:r>
          </a:p>
          <a:p>
            <a:pPr marL="344488" indent="-290513">
              <a:buFont typeface="Wingdings" panose="05000000000000000000" pitchFamily="2" charset="2"/>
              <a:buChar char="§"/>
              <a:tabLst>
                <a:tab pos="171450" algn="l"/>
              </a:tabLst>
            </a:pPr>
            <a:endParaRPr lang="fr-FR" sz="1800">
              <a:solidFill>
                <a:schemeClr val="tx1"/>
              </a:solidFill>
            </a:endParaRPr>
          </a:p>
          <a:p>
            <a:pPr marL="344488" indent="-290513">
              <a:buFont typeface="Wingdings" panose="05000000000000000000" pitchFamily="2" charset="2"/>
              <a:buChar char="§"/>
              <a:tabLst>
                <a:tab pos="171450" algn="l"/>
              </a:tabLst>
            </a:pPr>
            <a:r>
              <a:rPr lang="en-AU" sz="1800" b="1">
                <a:solidFill>
                  <a:schemeClr val="tx1"/>
                </a:solidFill>
              </a:rPr>
              <a:t>All audit and investigations reports are published </a:t>
            </a:r>
            <a:r>
              <a:rPr lang="en-AU" sz="1800">
                <a:solidFill>
                  <a:schemeClr val="tx1"/>
                </a:solidFill>
              </a:rPr>
              <a:t>and </a:t>
            </a:r>
            <a:endParaRPr lang="en-AU"/>
          </a:p>
          <a:p>
            <a:pPr marL="344488" indent="-290513">
              <a:tabLst>
                <a:tab pos="171450" algn="l"/>
              </a:tabLst>
            </a:pPr>
            <a:r>
              <a:rPr lang="en-AU">
                <a:solidFill>
                  <a:schemeClr val="tx1"/>
                </a:solidFill>
              </a:rPr>
              <a:t>    available on The Global Fund website:   </a:t>
            </a:r>
            <a:r>
              <a:rPr lang="fr-FR" i="1">
                <a:solidFill>
                  <a:schemeClr val="accent2"/>
                </a:solidFill>
                <a:hlinkClick r:id="rId5">
                  <a:extLst>
                    <a:ext uri="{A12FA001-AC4F-418D-AE19-62706E023703}">
                      <ahyp:hlinkClr xmlns:ahyp="http://schemas.microsoft.com/office/drawing/2018/hyperlinkcolor" val="tx"/>
                    </a:ext>
                  </a:extLst>
                </a:hlinkClick>
              </a:rPr>
              <a:t>www.theglobalfund.org/oig</a:t>
            </a:r>
            <a:endParaRPr lang="fr-FR" i="1">
              <a:solidFill>
                <a:schemeClr val="accent2"/>
              </a:solidFill>
            </a:endParaRPr>
          </a:p>
        </p:txBody>
      </p:sp>
    </p:spTree>
    <p:custDataLst>
      <p:custData r:id="rId1"/>
      <p:custData r:id="rId2"/>
    </p:custDataLst>
    <p:extLst>
      <p:ext uri="{BB962C8B-B14F-4D97-AF65-F5344CB8AC3E}">
        <p14:creationId xmlns:p14="http://schemas.microsoft.com/office/powerpoint/2010/main" val="354308355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213B1124-59A1-40C5-A1D3-C0C3806CEFB6}"/>
              </a:ext>
            </a:extLst>
          </p:cNvPr>
          <p:cNvSpPr>
            <a:spLocks noGrp="1"/>
          </p:cNvSpPr>
          <p:nvPr>
            <p:ph type="sldNum" sz="quarter" idx="12"/>
          </p:nvPr>
        </p:nvSpPr>
        <p:spPr/>
        <p:txBody>
          <a:bodyPr/>
          <a:lstStyle/>
          <a:p>
            <a:fld id="{9E2BE927-25C7-4379-86F1-C17ED9D2A7F2}" type="slidenum">
              <a:rPr lang="en-GB"/>
              <a:t>20</a:t>
            </a:fld>
            <a:endParaRPr lang="en-GB"/>
          </a:p>
        </p:txBody>
      </p:sp>
      <p:pic>
        <p:nvPicPr>
          <p:cNvPr id="5" name="Picture 4" descr="Graphical user interface, text&#10;&#10;Description automatically generated">
            <a:extLst>
              <a:ext uri="{FF2B5EF4-FFF2-40B4-BE49-F238E27FC236}">
                <a16:creationId xmlns:a16="http://schemas.microsoft.com/office/drawing/2014/main" id="{1DD2D6B0-5680-672B-B5F3-EA0436A303E8}"/>
              </a:ext>
            </a:extLst>
          </p:cNvPr>
          <p:cNvPicPr>
            <a:picLocks noChangeAspect="1"/>
          </p:cNvPicPr>
          <p:nvPr/>
        </p:nvPicPr>
        <p:blipFill rotWithShape="1">
          <a:blip r:embed="rId4"/>
          <a:srcRect l="1654" t="15678" r="1565" b="5350"/>
          <a:stretch/>
        </p:blipFill>
        <p:spPr bwMode="auto">
          <a:xfrm>
            <a:off x="563226" y="990888"/>
            <a:ext cx="10545316" cy="4429251"/>
          </a:xfrm>
          <a:prstGeom prst="rect">
            <a:avLst/>
          </a:prstGeom>
          <a:ln>
            <a:noFill/>
          </a:ln>
          <a:extLst>
            <a:ext uri="{53640926-AAD7-44D8-BBD7-CCE9431645EC}">
              <a14:shadowObscured xmlns:a14="http://schemas.microsoft.com/office/drawing/2010/main"/>
            </a:ext>
          </a:extLst>
        </p:spPr>
      </p:pic>
      <p:sp>
        <p:nvSpPr>
          <p:cNvPr id="6" name="TextBox 5">
            <a:extLst>
              <a:ext uri="{FF2B5EF4-FFF2-40B4-BE49-F238E27FC236}">
                <a16:creationId xmlns:a16="http://schemas.microsoft.com/office/drawing/2014/main" id="{7748AEAF-A79A-AF3B-8698-1384756D56EC}"/>
              </a:ext>
            </a:extLst>
          </p:cNvPr>
          <p:cNvSpPr txBox="1"/>
          <p:nvPr/>
        </p:nvSpPr>
        <p:spPr>
          <a:xfrm>
            <a:off x="2035965" y="5788451"/>
            <a:ext cx="9082609" cy="369332"/>
          </a:xfrm>
          <a:prstGeom prst="rect">
            <a:avLst/>
          </a:prstGeom>
          <a:noFill/>
        </p:spPr>
        <p:txBody>
          <a:bodyPr wrap="square" rtlCol="0">
            <a:spAutoFit/>
          </a:bodyPr>
          <a:lstStyle/>
          <a:p>
            <a:r>
              <a:rPr lang="en-US"/>
              <a:t>Visit </a:t>
            </a:r>
            <a:r>
              <a:rPr lang="en-US">
                <a:hlinkClick r:id="rId5"/>
              </a:rPr>
              <a:t>www.ispeakoutnow.org</a:t>
            </a:r>
            <a:r>
              <a:rPr lang="en-US"/>
              <a:t> to find out more about wrongdoing and how to report it</a:t>
            </a:r>
          </a:p>
        </p:txBody>
      </p:sp>
      <p:sp>
        <p:nvSpPr>
          <p:cNvPr id="7" name="Title 2">
            <a:extLst>
              <a:ext uri="{FF2B5EF4-FFF2-40B4-BE49-F238E27FC236}">
                <a16:creationId xmlns:a16="http://schemas.microsoft.com/office/drawing/2014/main" id="{2402BE12-B747-912A-51E1-7DB665450EA3}"/>
              </a:ext>
            </a:extLst>
          </p:cNvPr>
          <p:cNvSpPr>
            <a:spLocks noGrp="1"/>
          </p:cNvSpPr>
          <p:nvPr>
            <p:ph type="title"/>
          </p:nvPr>
        </p:nvSpPr>
        <p:spPr>
          <a:xfrm>
            <a:off x="360000" y="270001"/>
            <a:ext cx="11471638" cy="468000"/>
          </a:xfrm>
        </p:spPr>
        <p:txBody>
          <a:bodyPr/>
          <a:lstStyle/>
          <a:p>
            <a:r>
              <a:rPr lang="en-US"/>
              <a:t>Reporting fraud and abuse</a:t>
            </a:r>
          </a:p>
        </p:txBody>
      </p:sp>
    </p:spTree>
    <p:custDataLst>
      <p:custData r:id="rId1"/>
      <p:custData r:id="rId2"/>
    </p:custDataLst>
    <p:extLst>
      <p:ext uri="{BB962C8B-B14F-4D97-AF65-F5344CB8AC3E}">
        <p14:creationId xmlns:p14="http://schemas.microsoft.com/office/powerpoint/2010/main" val="178827555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6E66EE26-2E0D-44E7-A0FD-9D7C25304C70}"/>
              </a:ext>
            </a:extLst>
          </p:cNvPr>
          <p:cNvSpPr>
            <a:spLocks noGrp="1"/>
          </p:cNvSpPr>
          <p:nvPr>
            <p:ph type="sldNum" sz="quarter" idx="12"/>
          </p:nvPr>
        </p:nvSpPr>
        <p:spPr/>
        <p:txBody>
          <a:bodyPr/>
          <a:lstStyle/>
          <a:p>
            <a:fld id="{9E2BE927-25C7-4379-86F1-C17ED9D2A7F2}" type="slidenum">
              <a:rPr lang="en-US" smtClean="0"/>
              <a:pPr/>
              <a:t>21</a:t>
            </a:fld>
            <a:endParaRPr lang="en-US"/>
          </a:p>
        </p:txBody>
      </p:sp>
      <p:cxnSp>
        <p:nvCxnSpPr>
          <p:cNvPr id="6" name="Straight Connector 5">
            <a:extLst>
              <a:ext uri="{FF2B5EF4-FFF2-40B4-BE49-F238E27FC236}">
                <a16:creationId xmlns:a16="http://schemas.microsoft.com/office/drawing/2014/main" id="{C44633F2-BDA6-499B-04D8-2920541404F6}"/>
              </a:ext>
            </a:extLst>
          </p:cNvPr>
          <p:cNvCxnSpPr/>
          <p:nvPr/>
        </p:nvCxnSpPr>
        <p:spPr>
          <a:xfrm>
            <a:off x="0" y="4136571"/>
            <a:ext cx="12192000" cy="0"/>
          </a:xfrm>
          <a:prstGeom prst="line">
            <a:avLst/>
          </a:prstGeom>
          <a:ln w="381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4BD24748-6370-070C-BEF0-FD22A204C2D6}"/>
              </a:ext>
            </a:extLst>
          </p:cNvPr>
          <p:cNvSpPr txBox="1"/>
          <p:nvPr/>
        </p:nvSpPr>
        <p:spPr>
          <a:xfrm>
            <a:off x="102637" y="4460033"/>
            <a:ext cx="11989836" cy="369332"/>
          </a:xfrm>
          <a:prstGeom prst="rect">
            <a:avLst/>
          </a:prstGeom>
          <a:noFill/>
        </p:spPr>
        <p:txBody>
          <a:bodyPr wrap="square" rtlCol="0">
            <a:spAutoFit/>
          </a:bodyPr>
          <a:lstStyle/>
          <a:p>
            <a:r>
              <a:rPr lang="en-US" b="1"/>
              <a:t>Inspector General | Tracy Staines | </a:t>
            </a:r>
            <a:r>
              <a:rPr lang="en-US"/>
              <a:t>tracy.staines@theglobalfund.org</a:t>
            </a:r>
          </a:p>
        </p:txBody>
      </p:sp>
      <p:sp>
        <p:nvSpPr>
          <p:cNvPr id="8" name="TextBox 7">
            <a:extLst>
              <a:ext uri="{FF2B5EF4-FFF2-40B4-BE49-F238E27FC236}">
                <a16:creationId xmlns:a16="http://schemas.microsoft.com/office/drawing/2014/main" id="{203A4353-D3C5-231C-F2A1-576AE3A14EF2}"/>
              </a:ext>
            </a:extLst>
          </p:cNvPr>
          <p:cNvSpPr txBox="1"/>
          <p:nvPr/>
        </p:nvSpPr>
        <p:spPr>
          <a:xfrm>
            <a:off x="99527" y="4968160"/>
            <a:ext cx="11989836" cy="369332"/>
          </a:xfrm>
          <a:prstGeom prst="rect">
            <a:avLst/>
          </a:prstGeom>
          <a:noFill/>
        </p:spPr>
        <p:txBody>
          <a:bodyPr wrap="square" rtlCol="0">
            <a:spAutoFit/>
          </a:bodyPr>
          <a:lstStyle/>
          <a:p>
            <a:r>
              <a:rPr lang="en-US" b="1"/>
              <a:t>Head of Audit and Advisory | Daniel Petrescu | </a:t>
            </a:r>
            <a:r>
              <a:rPr lang="en-US"/>
              <a:t>daniel.petrescu@theglobalfund.org</a:t>
            </a:r>
          </a:p>
        </p:txBody>
      </p:sp>
      <p:sp>
        <p:nvSpPr>
          <p:cNvPr id="9" name="TextBox 8">
            <a:extLst>
              <a:ext uri="{FF2B5EF4-FFF2-40B4-BE49-F238E27FC236}">
                <a16:creationId xmlns:a16="http://schemas.microsoft.com/office/drawing/2014/main" id="{647168CF-FA40-1CC5-FE47-860913B5E119}"/>
              </a:ext>
            </a:extLst>
          </p:cNvPr>
          <p:cNvSpPr txBox="1"/>
          <p:nvPr/>
        </p:nvSpPr>
        <p:spPr>
          <a:xfrm>
            <a:off x="99527" y="5460228"/>
            <a:ext cx="11989836" cy="369332"/>
          </a:xfrm>
          <a:prstGeom prst="rect">
            <a:avLst/>
          </a:prstGeom>
          <a:noFill/>
        </p:spPr>
        <p:txBody>
          <a:bodyPr wrap="square" rtlCol="0">
            <a:spAutoFit/>
          </a:bodyPr>
          <a:lstStyle/>
          <a:p>
            <a:r>
              <a:rPr lang="en-US" b="1"/>
              <a:t>Audit Manager | Augustine Agyeman-Duah | </a:t>
            </a:r>
            <a:r>
              <a:rPr lang="en-US"/>
              <a:t>augustine.agyeman-duah@theglobalfund.org</a:t>
            </a:r>
          </a:p>
        </p:txBody>
      </p:sp>
      <p:pic>
        <p:nvPicPr>
          <p:cNvPr id="10" name="Picture 2" descr="Image result for Q &amp; A">
            <a:extLst>
              <a:ext uri="{FF2B5EF4-FFF2-40B4-BE49-F238E27FC236}">
                <a16:creationId xmlns:a16="http://schemas.microsoft.com/office/drawing/2014/main" id="{7AF36132-2355-A721-6CD1-532517650604}"/>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686" t="18885" r="-686" b="18651"/>
          <a:stretch/>
        </p:blipFill>
        <p:spPr bwMode="auto">
          <a:xfrm>
            <a:off x="1170855" y="526723"/>
            <a:ext cx="9525000" cy="3349687"/>
          </a:xfrm>
          <a:prstGeom prst="rect">
            <a:avLst/>
          </a:prstGeom>
          <a:noFill/>
          <a:extLst>
            <a:ext uri="{909E8E84-426E-40DD-AFC4-6F175D3DCCD1}">
              <a14:hiddenFill xmlns:a14="http://schemas.microsoft.com/office/drawing/2010/main">
                <a:solidFill>
                  <a:srgbClr val="FFFFFF"/>
                </a:solidFill>
              </a14:hiddenFill>
            </a:ext>
          </a:extLst>
        </p:spPr>
      </p:pic>
    </p:spTree>
    <p:custDataLst>
      <p:custData r:id="rId1"/>
      <p:custData r:id="rId2"/>
    </p:custDataLst>
    <p:extLst>
      <p:ext uri="{BB962C8B-B14F-4D97-AF65-F5344CB8AC3E}">
        <p14:creationId xmlns:p14="http://schemas.microsoft.com/office/powerpoint/2010/main" val="94900626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17FECC35-8DD2-415E-A2D6-49EB018C9B72}"/>
              </a:ext>
            </a:extLst>
          </p:cNvPr>
          <p:cNvSpPr>
            <a:spLocks noGrp="1"/>
          </p:cNvSpPr>
          <p:nvPr>
            <p:ph type="sldNum" sz="quarter" idx="20"/>
          </p:nvPr>
        </p:nvSpPr>
        <p:spPr/>
        <p:txBody>
          <a:bodyPr/>
          <a:lstStyle/>
          <a:p>
            <a:fld id="{9E2BE927-25C7-4379-86F1-C17ED9D2A7F2}" type="slidenum">
              <a:rPr lang="en-US" smtClean="0"/>
              <a:pPr/>
              <a:t>3</a:t>
            </a:fld>
            <a:endParaRPr lang="en-US"/>
          </a:p>
        </p:txBody>
      </p:sp>
      <p:sp>
        <p:nvSpPr>
          <p:cNvPr id="15" name="Title 2">
            <a:extLst>
              <a:ext uri="{FF2B5EF4-FFF2-40B4-BE49-F238E27FC236}">
                <a16:creationId xmlns:a16="http://schemas.microsoft.com/office/drawing/2014/main" id="{0ED15A17-23B5-0FB5-A3C6-D685C04148C2}"/>
              </a:ext>
            </a:extLst>
          </p:cNvPr>
          <p:cNvSpPr txBox="1">
            <a:spLocks/>
          </p:cNvSpPr>
          <p:nvPr/>
        </p:nvSpPr>
        <p:spPr>
          <a:xfrm>
            <a:off x="360000" y="270001"/>
            <a:ext cx="5535976" cy="468000"/>
          </a:xfrm>
          <a:prstGeom prst="rect">
            <a:avLst/>
          </a:prstGeom>
        </p:spPr>
        <p:txBody>
          <a:bodyPr/>
          <a:lstStyle>
            <a:lvl1pPr algn="l" defTabSz="914400" rtl="0" eaLnBrk="1" latinLnBrk="0" hangingPunct="1">
              <a:lnSpc>
                <a:spcPct val="90000"/>
              </a:lnSpc>
              <a:spcBef>
                <a:spcPct val="0"/>
              </a:spcBef>
              <a:buNone/>
              <a:defRPr sz="3200" kern="1200">
                <a:solidFill>
                  <a:schemeClr val="tx1"/>
                </a:solidFill>
                <a:latin typeface="+mj-lt"/>
                <a:ea typeface="+mj-ea"/>
                <a:cs typeface="+mj-cs"/>
              </a:defRPr>
            </a:lvl1pPr>
          </a:lstStyle>
          <a:p>
            <a:r>
              <a:rPr lang="en-US"/>
              <a:t>AGENDA</a:t>
            </a:r>
          </a:p>
        </p:txBody>
      </p:sp>
      <p:cxnSp>
        <p:nvCxnSpPr>
          <p:cNvPr id="16" name="Straight Connector 15">
            <a:extLst>
              <a:ext uri="{FF2B5EF4-FFF2-40B4-BE49-F238E27FC236}">
                <a16:creationId xmlns:a16="http://schemas.microsoft.com/office/drawing/2014/main" id="{0ADD4666-E892-1396-6762-10D6AA71FD4A}"/>
              </a:ext>
            </a:extLst>
          </p:cNvPr>
          <p:cNvCxnSpPr/>
          <p:nvPr/>
        </p:nvCxnSpPr>
        <p:spPr>
          <a:xfrm>
            <a:off x="346090" y="775059"/>
            <a:ext cx="677752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1CABEEDC-374E-F47B-247D-E90A918C26B5}"/>
              </a:ext>
            </a:extLst>
          </p:cNvPr>
          <p:cNvSpPr txBox="1"/>
          <p:nvPr/>
        </p:nvSpPr>
        <p:spPr>
          <a:xfrm>
            <a:off x="1049869" y="1177459"/>
            <a:ext cx="5895703" cy="369332"/>
          </a:xfrm>
          <a:prstGeom prst="rect">
            <a:avLst/>
          </a:prstGeom>
          <a:noFill/>
        </p:spPr>
        <p:txBody>
          <a:bodyPr wrap="square" rtlCol="0">
            <a:spAutoFit/>
          </a:bodyPr>
          <a:lstStyle/>
          <a:p>
            <a:r>
              <a:rPr lang="en-US"/>
              <a:t>Audit Objectives and Scope</a:t>
            </a:r>
          </a:p>
        </p:txBody>
      </p:sp>
      <p:grpSp>
        <p:nvGrpSpPr>
          <p:cNvPr id="18" name="Group 17">
            <a:extLst>
              <a:ext uri="{FF2B5EF4-FFF2-40B4-BE49-F238E27FC236}">
                <a16:creationId xmlns:a16="http://schemas.microsoft.com/office/drawing/2014/main" id="{732820A1-D6D9-EB1B-FC3E-2A5C6D89E470}"/>
              </a:ext>
            </a:extLst>
          </p:cNvPr>
          <p:cNvGrpSpPr/>
          <p:nvPr/>
        </p:nvGrpSpPr>
        <p:grpSpPr>
          <a:xfrm>
            <a:off x="391339" y="1123819"/>
            <a:ext cx="558165" cy="557872"/>
            <a:chOff x="3066601" y="1833418"/>
            <a:chExt cx="558165" cy="557872"/>
          </a:xfrm>
        </p:grpSpPr>
        <p:pic>
          <p:nvPicPr>
            <p:cNvPr id="19" name="StrokeCircle">
              <a:extLst>
                <a:ext uri="{FF2B5EF4-FFF2-40B4-BE49-F238E27FC236}">
                  <a16:creationId xmlns:a16="http://schemas.microsoft.com/office/drawing/2014/main" id="{67FB1E8D-52B2-824F-52BC-A5904D4DC14A}"/>
                </a:ext>
              </a:extLst>
            </p:cNvPr>
            <p:cNvPicPr/>
            <p:nvPr/>
          </p:nvPicPr>
          <p:blipFill rotWithShape="1">
            <a:blip r:embed="rId4"/>
            <a:stretch>
              <a:fillRect/>
            </a:stretch>
          </p:blipFill>
          <p:spPr>
            <a:xfrm>
              <a:off x="3076126" y="1842650"/>
              <a:ext cx="548640" cy="548640"/>
            </a:xfrm>
            <a:prstGeom prst="rect">
              <a:avLst/>
            </a:prstGeom>
          </p:spPr>
        </p:pic>
        <p:pic>
          <p:nvPicPr>
            <p:cNvPr id="20" name="doc ok outline">
              <a:extLst>
                <a:ext uri="{FF2B5EF4-FFF2-40B4-BE49-F238E27FC236}">
                  <a16:creationId xmlns:a16="http://schemas.microsoft.com/office/drawing/2014/main" id="{8A825A93-94DF-FE3A-0E1C-9358BD72F251}"/>
                </a:ext>
              </a:extLst>
            </p:cNvPr>
            <p:cNvPicPr/>
            <p:nvPr/>
          </p:nvPicPr>
          <p:blipFill rotWithShape="1">
            <a:blip r:embed="rId5"/>
            <a:stretch>
              <a:fillRect/>
            </a:stretch>
          </p:blipFill>
          <p:spPr>
            <a:xfrm>
              <a:off x="3066601" y="1833418"/>
              <a:ext cx="548640" cy="509953"/>
            </a:xfrm>
            <a:prstGeom prst="rect">
              <a:avLst/>
            </a:prstGeom>
          </p:spPr>
        </p:pic>
      </p:grpSp>
      <p:grpSp>
        <p:nvGrpSpPr>
          <p:cNvPr id="21" name="Group 20">
            <a:extLst>
              <a:ext uri="{FF2B5EF4-FFF2-40B4-BE49-F238E27FC236}">
                <a16:creationId xmlns:a16="http://schemas.microsoft.com/office/drawing/2014/main" id="{83D7BE7E-78A3-453E-2DDF-7A2F5C9E0168}"/>
              </a:ext>
            </a:extLst>
          </p:cNvPr>
          <p:cNvGrpSpPr/>
          <p:nvPr/>
        </p:nvGrpSpPr>
        <p:grpSpPr>
          <a:xfrm>
            <a:off x="391339" y="1899302"/>
            <a:ext cx="548640" cy="548640"/>
            <a:chOff x="346090" y="1309199"/>
            <a:chExt cx="548640" cy="548640"/>
          </a:xfrm>
        </p:grpSpPr>
        <p:pic>
          <p:nvPicPr>
            <p:cNvPr id="22" name="StrokeCircle">
              <a:extLst>
                <a:ext uri="{FF2B5EF4-FFF2-40B4-BE49-F238E27FC236}">
                  <a16:creationId xmlns:a16="http://schemas.microsoft.com/office/drawing/2014/main" id="{B06F186E-1056-E753-56AE-7F8CBD6440AA}"/>
                </a:ext>
              </a:extLst>
            </p:cNvPr>
            <p:cNvPicPr/>
            <p:nvPr/>
          </p:nvPicPr>
          <p:blipFill rotWithShape="1">
            <a:blip r:embed="rId4"/>
            <a:stretch>
              <a:fillRect/>
            </a:stretch>
          </p:blipFill>
          <p:spPr>
            <a:xfrm>
              <a:off x="346090" y="1309199"/>
              <a:ext cx="548640" cy="548640"/>
            </a:xfrm>
            <a:prstGeom prst="rect">
              <a:avLst/>
            </a:prstGeom>
          </p:spPr>
        </p:pic>
        <p:pic>
          <p:nvPicPr>
            <p:cNvPr id="23" name="education40-O">
              <a:extLst>
                <a:ext uri="{FF2B5EF4-FFF2-40B4-BE49-F238E27FC236}">
                  <a16:creationId xmlns:a16="http://schemas.microsoft.com/office/drawing/2014/main" id="{A427B584-9051-94C2-2198-311F9E5F5525}"/>
                </a:ext>
              </a:extLst>
            </p:cNvPr>
            <p:cNvPicPr>
              <a:picLocks noChangeAspect="1"/>
            </p:cNvPicPr>
            <p:nvPr/>
          </p:nvPicPr>
          <p:blipFill rotWithShape="1">
            <a:blip r:embed="rId6"/>
            <a:stretch>
              <a:fillRect/>
            </a:stretch>
          </p:blipFill>
          <p:spPr>
            <a:xfrm>
              <a:off x="449301" y="1403219"/>
              <a:ext cx="365760" cy="360338"/>
            </a:xfrm>
            <a:prstGeom prst="rect">
              <a:avLst/>
            </a:prstGeom>
          </p:spPr>
        </p:pic>
      </p:grpSp>
      <p:sp>
        <p:nvSpPr>
          <p:cNvPr id="24" name="TextBox 23">
            <a:extLst>
              <a:ext uri="{FF2B5EF4-FFF2-40B4-BE49-F238E27FC236}">
                <a16:creationId xmlns:a16="http://schemas.microsoft.com/office/drawing/2014/main" id="{44A01790-6ADF-E44A-6562-B1FFEA31EDE7}"/>
              </a:ext>
            </a:extLst>
          </p:cNvPr>
          <p:cNvSpPr txBox="1"/>
          <p:nvPr/>
        </p:nvSpPr>
        <p:spPr>
          <a:xfrm>
            <a:off x="1049865" y="1938266"/>
            <a:ext cx="5895703" cy="369332"/>
          </a:xfrm>
          <a:prstGeom prst="rect">
            <a:avLst/>
          </a:prstGeom>
          <a:noFill/>
        </p:spPr>
        <p:txBody>
          <a:bodyPr wrap="square" rtlCol="0">
            <a:spAutoFit/>
          </a:bodyPr>
          <a:lstStyle/>
          <a:p>
            <a:r>
              <a:rPr lang="en-US"/>
              <a:t>Key messages across audit objectives</a:t>
            </a:r>
          </a:p>
        </p:txBody>
      </p:sp>
      <p:grpSp>
        <p:nvGrpSpPr>
          <p:cNvPr id="25" name="Group 24">
            <a:extLst>
              <a:ext uri="{FF2B5EF4-FFF2-40B4-BE49-F238E27FC236}">
                <a16:creationId xmlns:a16="http://schemas.microsoft.com/office/drawing/2014/main" id="{7BFB7AB5-E6B6-FE2F-AD20-A2F2500DC2C5}"/>
              </a:ext>
            </a:extLst>
          </p:cNvPr>
          <p:cNvGrpSpPr/>
          <p:nvPr/>
        </p:nvGrpSpPr>
        <p:grpSpPr>
          <a:xfrm>
            <a:off x="391339" y="2677448"/>
            <a:ext cx="548640" cy="548640"/>
            <a:chOff x="346090" y="2416456"/>
            <a:chExt cx="548640" cy="548640"/>
          </a:xfrm>
        </p:grpSpPr>
        <p:pic>
          <p:nvPicPr>
            <p:cNvPr id="26" name="StrokeCircle">
              <a:extLst>
                <a:ext uri="{FF2B5EF4-FFF2-40B4-BE49-F238E27FC236}">
                  <a16:creationId xmlns:a16="http://schemas.microsoft.com/office/drawing/2014/main" id="{F0D9548E-88A6-4965-051B-E2C7A7E41067}"/>
                </a:ext>
              </a:extLst>
            </p:cNvPr>
            <p:cNvPicPr/>
            <p:nvPr/>
          </p:nvPicPr>
          <p:blipFill rotWithShape="1">
            <a:blip r:embed="rId4"/>
            <a:stretch>
              <a:fillRect/>
            </a:stretch>
          </p:blipFill>
          <p:spPr>
            <a:xfrm>
              <a:off x="346090" y="2416456"/>
              <a:ext cx="548640" cy="548640"/>
            </a:xfrm>
            <a:prstGeom prst="rect">
              <a:avLst/>
            </a:prstGeom>
          </p:spPr>
        </p:pic>
        <p:pic>
          <p:nvPicPr>
            <p:cNvPr id="27" name="InternetOutline19">
              <a:extLst>
                <a:ext uri="{FF2B5EF4-FFF2-40B4-BE49-F238E27FC236}">
                  <a16:creationId xmlns:a16="http://schemas.microsoft.com/office/drawing/2014/main" id="{102CA8E7-E807-4FE6-955F-52DAD73C3D5D}"/>
                </a:ext>
              </a:extLst>
            </p:cNvPr>
            <p:cNvPicPr>
              <a:picLocks noChangeAspect="1"/>
            </p:cNvPicPr>
            <p:nvPr/>
          </p:nvPicPr>
          <p:blipFill rotWithShape="1">
            <a:blip r:embed="rId7"/>
            <a:stretch>
              <a:fillRect/>
            </a:stretch>
          </p:blipFill>
          <p:spPr>
            <a:xfrm>
              <a:off x="439776" y="2500017"/>
              <a:ext cx="365760" cy="314548"/>
            </a:xfrm>
            <a:prstGeom prst="rect">
              <a:avLst/>
            </a:prstGeom>
          </p:spPr>
        </p:pic>
      </p:grpSp>
      <p:sp>
        <p:nvSpPr>
          <p:cNvPr id="28" name="TextBox 27">
            <a:extLst>
              <a:ext uri="{FF2B5EF4-FFF2-40B4-BE49-F238E27FC236}">
                <a16:creationId xmlns:a16="http://schemas.microsoft.com/office/drawing/2014/main" id="{F9832582-1319-8637-77CE-E8A9F1F436F1}"/>
              </a:ext>
            </a:extLst>
          </p:cNvPr>
          <p:cNvSpPr txBox="1"/>
          <p:nvPr/>
        </p:nvSpPr>
        <p:spPr>
          <a:xfrm>
            <a:off x="1049864" y="2624261"/>
            <a:ext cx="5895703" cy="923330"/>
          </a:xfrm>
          <a:prstGeom prst="rect">
            <a:avLst/>
          </a:prstGeom>
          <a:noFill/>
        </p:spPr>
        <p:txBody>
          <a:bodyPr wrap="square" rtlCol="0">
            <a:spAutoFit/>
          </a:bodyPr>
          <a:lstStyle/>
          <a:p>
            <a:r>
              <a:rPr lang="en-US" b="1"/>
              <a:t>Objective #1 </a:t>
            </a:r>
            <a:endParaRPr lang="en-US" sz="1800" b="0" i="0" u="none" strike="noStrike" baseline="0">
              <a:solidFill>
                <a:srgbClr val="000000"/>
              </a:solidFill>
              <a:latin typeface="Arial" panose="020B0604020202020204" pitchFamily="34" charset="0"/>
            </a:endParaRPr>
          </a:p>
          <a:p>
            <a:r>
              <a:rPr lang="en-US">
                <a:solidFill>
                  <a:srgbClr val="000000"/>
                </a:solidFill>
                <a:latin typeface="Arial" panose="020B0604020202020204" pitchFamily="34" charset="0"/>
              </a:rPr>
              <a:t>T</a:t>
            </a:r>
            <a:r>
              <a:rPr lang="en-US" sz="1800" b="0" i="0" u="none" strike="noStrike" baseline="0">
                <a:solidFill>
                  <a:srgbClr val="000000"/>
                </a:solidFill>
                <a:latin typeface="Arial" panose="020B0604020202020204" pitchFamily="34" charset="0"/>
              </a:rPr>
              <a:t>he implementation modalities of the TB and HIV grants to ensure the achievement of grant objectives </a:t>
            </a:r>
          </a:p>
        </p:txBody>
      </p:sp>
      <p:sp>
        <p:nvSpPr>
          <p:cNvPr id="32" name="TextBox 31">
            <a:extLst>
              <a:ext uri="{FF2B5EF4-FFF2-40B4-BE49-F238E27FC236}">
                <a16:creationId xmlns:a16="http://schemas.microsoft.com/office/drawing/2014/main" id="{69B76823-7F59-BCF1-B82C-6F6E91AD13EB}"/>
              </a:ext>
            </a:extLst>
          </p:cNvPr>
          <p:cNvSpPr txBox="1"/>
          <p:nvPr/>
        </p:nvSpPr>
        <p:spPr>
          <a:xfrm>
            <a:off x="1057416" y="3672720"/>
            <a:ext cx="5895703" cy="1200329"/>
          </a:xfrm>
          <a:prstGeom prst="rect">
            <a:avLst/>
          </a:prstGeom>
          <a:noFill/>
        </p:spPr>
        <p:txBody>
          <a:bodyPr wrap="square" rtlCol="0">
            <a:spAutoFit/>
          </a:bodyPr>
          <a:lstStyle/>
          <a:p>
            <a:r>
              <a:rPr lang="en-US" b="1"/>
              <a:t>Objective #2 </a:t>
            </a:r>
          </a:p>
          <a:p>
            <a:r>
              <a:rPr lang="en-US" sz="1800" b="0" i="0" u="none" strike="noStrike" baseline="0">
                <a:solidFill>
                  <a:srgbClr val="000000"/>
                </a:solidFill>
                <a:latin typeface="Arial" panose="020B0604020202020204" pitchFamily="34" charset="0"/>
              </a:rPr>
              <a:t>Grant interventions and approach to implement sustainable people-centered systems for health to deliver impact </a:t>
            </a:r>
          </a:p>
        </p:txBody>
      </p:sp>
      <p:grpSp>
        <p:nvGrpSpPr>
          <p:cNvPr id="37" name="Group 36">
            <a:extLst>
              <a:ext uri="{FF2B5EF4-FFF2-40B4-BE49-F238E27FC236}">
                <a16:creationId xmlns:a16="http://schemas.microsoft.com/office/drawing/2014/main" id="{5BF24A01-AB89-1E93-EFEF-143E7D8E0E85}"/>
              </a:ext>
            </a:extLst>
          </p:cNvPr>
          <p:cNvGrpSpPr/>
          <p:nvPr/>
        </p:nvGrpSpPr>
        <p:grpSpPr>
          <a:xfrm>
            <a:off x="391339" y="5124028"/>
            <a:ext cx="548640" cy="548640"/>
            <a:chOff x="346090" y="5738227"/>
            <a:chExt cx="548640" cy="548640"/>
          </a:xfrm>
        </p:grpSpPr>
        <p:pic>
          <p:nvPicPr>
            <p:cNvPr id="38" name="StrokeCircle">
              <a:extLst>
                <a:ext uri="{FF2B5EF4-FFF2-40B4-BE49-F238E27FC236}">
                  <a16:creationId xmlns:a16="http://schemas.microsoft.com/office/drawing/2014/main" id="{20CB6EDD-26DA-3FE0-260B-24B57B752357}"/>
                </a:ext>
              </a:extLst>
            </p:cNvPr>
            <p:cNvPicPr/>
            <p:nvPr/>
          </p:nvPicPr>
          <p:blipFill rotWithShape="1">
            <a:blip r:embed="rId4"/>
            <a:stretch>
              <a:fillRect/>
            </a:stretch>
          </p:blipFill>
          <p:spPr>
            <a:xfrm>
              <a:off x="346090" y="5738227"/>
              <a:ext cx="548640" cy="548640"/>
            </a:xfrm>
            <a:prstGeom prst="rect">
              <a:avLst/>
            </a:prstGeom>
          </p:spPr>
        </p:pic>
        <p:pic>
          <p:nvPicPr>
            <p:cNvPr id="39" name="Interaction59-O">
              <a:extLst>
                <a:ext uri="{FF2B5EF4-FFF2-40B4-BE49-F238E27FC236}">
                  <a16:creationId xmlns:a16="http://schemas.microsoft.com/office/drawing/2014/main" id="{82B65692-BD72-2AAA-434D-6AF7953C6003}"/>
                </a:ext>
              </a:extLst>
            </p:cNvPr>
            <p:cNvPicPr>
              <a:picLocks noChangeAspect="1"/>
            </p:cNvPicPr>
            <p:nvPr/>
          </p:nvPicPr>
          <p:blipFill rotWithShape="1">
            <a:blip r:embed="rId8"/>
            <a:stretch>
              <a:fillRect/>
            </a:stretch>
          </p:blipFill>
          <p:spPr>
            <a:xfrm>
              <a:off x="463527" y="5855974"/>
              <a:ext cx="365760" cy="297220"/>
            </a:xfrm>
            <a:prstGeom prst="rect">
              <a:avLst/>
            </a:prstGeom>
          </p:spPr>
        </p:pic>
      </p:grpSp>
      <p:sp>
        <p:nvSpPr>
          <p:cNvPr id="40" name="TextBox 39">
            <a:extLst>
              <a:ext uri="{FF2B5EF4-FFF2-40B4-BE49-F238E27FC236}">
                <a16:creationId xmlns:a16="http://schemas.microsoft.com/office/drawing/2014/main" id="{6794413E-D61B-C4BF-7AAF-64EB19710D8D}"/>
              </a:ext>
            </a:extLst>
          </p:cNvPr>
          <p:cNvSpPr txBox="1"/>
          <p:nvPr/>
        </p:nvSpPr>
        <p:spPr>
          <a:xfrm>
            <a:off x="1057416" y="5169663"/>
            <a:ext cx="5895703" cy="369332"/>
          </a:xfrm>
          <a:prstGeom prst="rect">
            <a:avLst/>
          </a:prstGeom>
          <a:noFill/>
        </p:spPr>
        <p:txBody>
          <a:bodyPr wrap="square" rtlCol="0">
            <a:spAutoFit/>
          </a:bodyPr>
          <a:lstStyle/>
          <a:p>
            <a:r>
              <a:rPr lang="en-US"/>
              <a:t>Next steps</a:t>
            </a:r>
          </a:p>
        </p:txBody>
      </p:sp>
      <p:grpSp>
        <p:nvGrpSpPr>
          <p:cNvPr id="5" name="Group 4">
            <a:extLst>
              <a:ext uri="{FF2B5EF4-FFF2-40B4-BE49-F238E27FC236}">
                <a16:creationId xmlns:a16="http://schemas.microsoft.com/office/drawing/2014/main" id="{C9125EE8-BC45-B380-1918-06FC4045C1F9}"/>
              </a:ext>
            </a:extLst>
          </p:cNvPr>
          <p:cNvGrpSpPr/>
          <p:nvPr/>
        </p:nvGrpSpPr>
        <p:grpSpPr>
          <a:xfrm>
            <a:off x="400864" y="3827269"/>
            <a:ext cx="548640" cy="548640"/>
            <a:chOff x="346090" y="2416456"/>
            <a:chExt cx="548640" cy="548640"/>
          </a:xfrm>
        </p:grpSpPr>
        <p:pic>
          <p:nvPicPr>
            <p:cNvPr id="6" name="StrokeCircle">
              <a:extLst>
                <a:ext uri="{FF2B5EF4-FFF2-40B4-BE49-F238E27FC236}">
                  <a16:creationId xmlns:a16="http://schemas.microsoft.com/office/drawing/2014/main" id="{2A065C83-6F46-174D-7BF7-B70F9CFA64DB}"/>
                </a:ext>
              </a:extLst>
            </p:cNvPr>
            <p:cNvPicPr/>
            <p:nvPr/>
          </p:nvPicPr>
          <p:blipFill rotWithShape="1">
            <a:blip r:embed="rId4"/>
            <a:stretch>
              <a:fillRect/>
            </a:stretch>
          </p:blipFill>
          <p:spPr>
            <a:xfrm>
              <a:off x="346090" y="2416456"/>
              <a:ext cx="548640" cy="548640"/>
            </a:xfrm>
            <a:prstGeom prst="rect">
              <a:avLst/>
            </a:prstGeom>
          </p:spPr>
        </p:pic>
        <p:pic>
          <p:nvPicPr>
            <p:cNvPr id="7" name="InternetOutline19">
              <a:extLst>
                <a:ext uri="{FF2B5EF4-FFF2-40B4-BE49-F238E27FC236}">
                  <a16:creationId xmlns:a16="http://schemas.microsoft.com/office/drawing/2014/main" id="{70A5C844-12D8-6367-BC31-AEC8025A3ADD}"/>
                </a:ext>
              </a:extLst>
            </p:cNvPr>
            <p:cNvPicPr>
              <a:picLocks noChangeAspect="1"/>
            </p:cNvPicPr>
            <p:nvPr/>
          </p:nvPicPr>
          <p:blipFill rotWithShape="1">
            <a:blip r:embed="rId7"/>
            <a:stretch>
              <a:fillRect/>
            </a:stretch>
          </p:blipFill>
          <p:spPr>
            <a:xfrm>
              <a:off x="439776" y="2500017"/>
              <a:ext cx="365760" cy="314548"/>
            </a:xfrm>
            <a:prstGeom prst="rect">
              <a:avLst/>
            </a:prstGeom>
          </p:spPr>
        </p:pic>
      </p:grpSp>
      <p:pic>
        <p:nvPicPr>
          <p:cNvPr id="2" name="Picture Placeholder 1">
            <a:extLst>
              <a:ext uri="{FF2B5EF4-FFF2-40B4-BE49-F238E27FC236}">
                <a16:creationId xmlns:a16="http://schemas.microsoft.com/office/drawing/2014/main" id="{7C83FC93-D938-3EC7-8F3A-5378C8029223}"/>
              </a:ext>
            </a:extLst>
          </p:cNvPr>
          <p:cNvPicPr>
            <a:picLocks noGrp="1" noChangeAspect="1"/>
          </p:cNvPicPr>
          <p:nvPr>
            <p:ph type="pic" sz="quarter" idx="10"/>
          </p:nvPr>
        </p:nvPicPr>
        <p:blipFill>
          <a:blip r:embed="rId9">
            <a:extLst>
              <a:ext uri="{28A0092B-C50C-407E-A947-70E740481C1C}">
                <a14:useLocalDpi xmlns:a14="http://schemas.microsoft.com/office/drawing/2010/main" val="0"/>
              </a:ext>
              <a:ext uri="{837473B0-CC2E-450A-ABE3-18F120FF3D39}">
                <a1611:picAttrSrcUrl xmlns:a1611="http://schemas.microsoft.com/office/drawing/2016/11/main" r:id="rId10"/>
              </a:ext>
            </a:extLst>
          </a:blip>
          <a:srcRect l="17852" r="17852"/>
          <a:stretch/>
        </p:blipFill>
        <p:spPr>
          <a:xfrm>
            <a:off x="6672348" y="775059"/>
            <a:ext cx="5519651" cy="5143604"/>
          </a:xfrm>
          <a:custGeom>
            <a:avLst/>
            <a:gdLst>
              <a:gd name="connsiteX0" fmla="*/ 629011 w 6616265"/>
              <a:gd name="connsiteY0" fmla="*/ 6807681 h 6843715"/>
              <a:gd name="connsiteX1" fmla="*/ 674414 w 6616265"/>
              <a:gd name="connsiteY1" fmla="*/ 6821955 h 6843715"/>
              <a:gd name="connsiteX2" fmla="*/ 692183 w 6616265"/>
              <a:gd name="connsiteY2" fmla="*/ 6843715 h 6843715"/>
              <a:gd name="connsiteX3" fmla="*/ 566186 w 6616265"/>
              <a:gd name="connsiteY3" fmla="*/ 6843715 h 6843715"/>
              <a:gd name="connsiteX4" fmla="*/ 583691 w 6616265"/>
              <a:gd name="connsiteY4" fmla="*/ 6821713 h 6843715"/>
              <a:gd name="connsiteX5" fmla="*/ 629011 w 6616265"/>
              <a:gd name="connsiteY5" fmla="*/ 6807681 h 6843715"/>
              <a:gd name="connsiteX6" fmla="*/ 1201250 w 6616265"/>
              <a:gd name="connsiteY6" fmla="*/ 6737360 h 6843715"/>
              <a:gd name="connsiteX7" fmla="*/ 1330440 w 6616265"/>
              <a:gd name="connsiteY7" fmla="*/ 6810301 h 6843715"/>
              <a:gd name="connsiteX8" fmla="*/ 1343433 w 6616265"/>
              <a:gd name="connsiteY8" fmla="*/ 6843715 h 6843715"/>
              <a:gd name="connsiteX9" fmla="*/ 1059118 w 6616265"/>
              <a:gd name="connsiteY9" fmla="*/ 6843715 h 6843715"/>
              <a:gd name="connsiteX10" fmla="*/ 1072333 w 6616265"/>
              <a:gd name="connsiteY10" fmla="*/ 6810029 h 6843715"/>
              <a:gd name="connsiteX11" fmla="*/ 1201250 w 6616265"/>
              <a:gd name="connsiteY11" fmla="*/ 6737360 h 6843715"/>
              <a:gd name="connsiteX12" fmla="*/ 56772 w 6616265"/>
              <a:gd name="connsiteY12" fmla="*/ 6273505 h 6843715"/>
              <a:gd name="connsiteX13" fmla="*/ 99350 w 6616265"/>
              <a:gd name="connsiteY13" fmla="*/ 6316084 h 6843715"/>
              <a:gd name="connsiteX14" fmla="*/ 56772 w 6616265"/>
              <a:gd name="connsiteY14" fmla="*/ 6358663 h 6843715"/>
              <a:gd name="connsiteX15" fmla="*/ 14192 w 6616265"/>
              <a:gd name="connsiteY15" fmla="*/ 6316084 h 6843715"/>
              <a:gd name="connsiteX16" fmla="*/ 56772 w 6616265"/>
              <a:gd name="connsiteY16" fmla="*/ 6273505 h 6843715"/>
              <a:gd name="connsiteX17" fmla="*/ 629011 w 6616265"/>
              <a:gd name="connsiteY17" fmla="*/ 6216087 h 6843715"/>
              <a:gd name="connsiteX18" fmla="*/ 729008 w 6616265"/>
              <a:gd name="connsiteY18" fmla="*/ 6316083 h 6843715"/>
              <a:gd name="connsiteX19" fmla="*/ 629011 w 6616265"/>
              <a:gd name="connsiteY19" fmla="*/ 6416081 h 6843715"/>
              <a:gd name="connsiteX20" fmla="*/ 529015 w 6616265"/>
              <a:gd name="connsiteY20" fmla="*/ 6316083 h 6843715"/>
              <a:gd name="connsiteX21" fmla="*/ 629011 w 6616265"/>
              <a:gd name="connsiteY21" fmla="*/ 6216087 h 6843715"/>
              <a:gd name="connsiteX22" fmla="*/ 1201251 w 6616265"/>
              <a:gd name="connsiteY22" fmla="*/ 6134800 h 6843715"/>
              <a:gd name="connsiteX23" fmla="*/ 1382536 w 6616265"/>
              <a:gd name="connsiteY23" fmla="*/ 6316084 h 6843715"/>
              <a:gd name="connsiteX24" fmla="*/ 1201251 w 6616265"/>
              <a:gd name="connsiteY24" fmla="*/ 6497368 h 6843715"/>
              <a:gd name="connsiteX25" fmla="*/ 1019967 w 6616265"/>
              <a:gd name="connsiteY25" fmla="*/ 6316084 h 6843715"/>
              <a:gd name="connsiteX26" fmla="*/ 1201251 w 6616265"/>
              <a:gd name="connsiteY26" fmla="*/ 6134800 h 6843715"/>
              <a:gd name="connsiteX27" fmla="*/ 56773 w 6616265"/>
              <a:gd name="connsiteY27" fmla="*/ 5692879 h 6843715"/>
              <a:gd name="connsiteX28" fmla="*/ 107738 w 6616265"/>
              <a:gd name="connsiteY28" fmla="*/ 5743845 h 6843715"/>
              <a:gd name="connsiteX29" fmla="*/ 56773 w 6616265"/>
              <a:gd name="connsiteY29" fmla="*/ 5794811 h 6843715"/>
              <a:gd name="connsiteX30" fmla="*/ 5806 w 6616265"/>
              <a:gd name="connsiteY30" fmla="*/ 5743845 h 6843715"/>
              <a:gd name="connsiteX31" fmla="*/ 56773 w 6616265"/>
              <a:gd name="connsiteY31" fmla="*/ 5692879 h 6843715"/>
              <a:gd name="connsiteX32" fmla="*/ 629011 w 6616265"/>
              <a:gd name="connsiteY32" fmla="*/ 5627719 h 6843715"/>
              <a:gd name="connsiteX33" fmla="*/ 744491 w 6616265"/>
              <a:gd name="connsiteY33" fmla="*/ 5743199 h 6843715"/>
              <a:gd name="connsiteX34" fmla="*/ 629011 w 6616265"/>
              <a:gd name="connsiteY34" fmla="*/ 5858679 h 6843715"/>
              <a:gd name="connsiteX35" fmla="*/ 513532 w 6616265"/>
              <a:gd name="connsiteY35" fmla="*/ 5743199 h 6843715"/>
              <a:gd name="connsiteX36" fmla="*/ 629011 w 6616265"/>
              <a:gd name="connsiteY36" fmla="*/ 5627719 h 6843715"/>
              <a:gd name="connsiteX37" fmla="*/ 1201250 w 6616265"/>
              <a:gd name="connsiteY37" fmla="*/ 5539980 h 6843715"/>
              <a:gd name="connsiteX38" fmla="*/ 1404470 w 6616265"/>
              <a:gd name="connsiteY38" fmla="*/ 5743199 h 6843715"/>
              <a:gd name="connsiteX39" fmla="*/ 1201250 w 6616265"/>
              <a:gd name="connsiteY39" fmla="*/ 5946419 h 6843715"/>
              <a:gd name="connsiteX40" fmla="*/ 998031 w 6616265"/>
              <a:gd name="connsiteY40" fmla="*/ 5743199 h 6843715"/>
              <a:gd name="connsiteX41" fmla="*/ 1201250 w 6616265"/>
              <a:gd name="connsiteY41" fmla="*/ 5539980 h 6843715"/>
              <a:gd name="connsiteX42" fmla="*/ 56772 w 6616265"/>
              <a:gd name="connsiteY42" fmla="*/ 5114188 h 6843715"/>
              <a:gd name="connsiteX43" fmla="*/ 113543 w 6616265"/>
              <a:gd name="connsiteY43" fmla="*/ 5170960 h 6843715"/>
              <a:gd name="connsiteX44" fmla="*/ 56772 w 6616265"/>
              <a:gd name="connsiteY44" fmla="*/ 5227732 h 6843715"/>
              <a:gd name="connsiteX45" fmla="*/ 0 w 6616265"/>
              <a:gd name="connsiteY45" fmla="*/ 5170960 h 6843715"/>
              <a:gd name="connsiteX46" fmla="*/ 56772 w 6616265"/>
              <a:gd name="connsiteY46" fmla="*/ 5114188 h 6843715"/>
              <a:gd name="connsiteX47" fmla="*/ 629011 w 6616265"/>
              <a:gd name="connsiteY47" fmla="*/ 5045803 h 6843715"/>
              <a:gd name="connsiteX48" fmla="*/ 754168 w 6616265"/>
              <a:gd name="connsiteY48" fmla="*/ 5170960 h 6843715"/>
              <a:gd name="connsiteX49" fmla="*/ 629011 w 6616265"/>
              <a:gd name="connsiteY49" fmla="*/ 5296117 h 6843715"/>
              <a:gd name="connsiteX50" fmla="*/ 503854 w 6616265"/>
              <a:gd name="connsiteY50" fmla="*/ 5170960 h 6843715"/>
              <a:gd name="connsiteX51" fmla="*/ 629011 w 6616265"/>
              <a:gd name="connsiteY51" fmla="*/ 5045803 h 6843715"/>
              <a:gd name="connsiteX52" fmla="*/ 1201250 w 6616265"/>
              <a:gd name="connsiteY52" fmla="*/ 4954192 h 6843715"/>
              <a:gd name="connsiteX53" fmla="*/ 1401022 w 6616265"/>
              <a:gd name="connsiteY53" fmla="*/ 5086466 h 6843715"/>
              <a:gd name="connsiteX54" fmla="*/ 1410074 w 6616265"/>
              <a:gd name="connsiteY54" fmla="*/ 5131470 h 6843715"/>
              <a:gd name="connsiteX55" fmla="*/ 1406404 w 6616265"/>
              <a:gd name="connsiteY55" fmla="*/ 5157374 h 6843715"/>
              <a:gd name="connsiteX56" fmla="*/ 1412511 w 6616265"/>
              <a:gd name="connsiteY56" fmla="*/ 5198249 h 6843715"/>
              <a:gd name="connsiteX57" fmla="*/ 1401022 w 6616265"/>
              <a:gd name="connsiteY57" fmla="*/ 5255180 h 6843715"/>
              <a:gd name="connsiteX58" fmla="*/ 1201250 w 6616265"/>
              <a:gd name="connsiteY58" fmla="*/ 5387727 h 6843715"/>
              <a:gd name="connsiteX59" fmla="*/ 984484 w 6616265"/>
              <a:gd name="connsiteY59" fmla="*/ 5170959 h 6843715"/>
              <a:gd name="connsiteX60" fmla="*/ 1201250 w 6616265"/>
              <a:gd name="connsiteY60" fmla="*/ 4954192 h 6843715"/>
              <a:gd name="connsiteX61" fmla="*/ 56772 w 6616265"/>
              <a:gd name="connsiteY61" fmla="*/ 4541948 h 6843715"/>
              <a:gd name="connsiteX62" fmla="*/ 113543 w 6616265"/>
              <a:gd name="connsiteY62" fmla="*/ 4598720 h 6843715"/>
              <a:gd name="connsiteX63" fmla="*/ 56772 w 6616265"/>
              <a:gd name="connsiteY63" fmla="*/ 4655492 h 6843715"/>
              <a:gd name="connsiteX64" fmla="*/ 0 w 6616265"/>
              <a:gd name="connsiteY64" fmla="*/ 4598720 h 6843715"/>
              <a:gd name="connsiteX65" fmla="*/ 56772 w 6616265"/>
              <a:gd name="connsiteY65" fmla="*/ 4541948 h 6843715"/>
              <a:gd name="connsiteX66" fmla="*/ 629011 w 6616265"/>
              <a:gd name="connsiteY66" fmla="*/ 4471628 h 6843715"/>
              <a:gd name="connsiteX67" fmla="*/ 756105 w 6616265"/>
              <a:gd name="connsiteY67" fmla="*/ 4598720 h 6843715"/>
              <a:gd name="connsiteX68" fmla="*/ 629011 w 6616265"/>
              <a:gd name="connsiteY68" fmla="*/ 4725814 h 6843715"/>
              <a:gd name="connsiteX69" fmla="*/ 501919 w 6616265"/>
              <a:gd name="connsiteY69" fmla="*/ 4598720 h 6843715"/>
              <a:gd name="connsiteX70" fmla="*/ 629011 w 6616265"/>
              <a:gd name="connsiteY70" fmla="*/ 4471628 h 6843715"/>
              <a:gd name="connsiteX71" fmla="*/ 1201250 w 6616265"/>
              <a:gd name="connsiteY71" fmla="*/ 4380018 h 6843715"/>
              <a:gd name="connsiteX72" fmla="*/ 1402746 w 6616265"/>
              <a:gd name="connsiteY72" fmla="*/ 4513653 h 6843715"/>
              <a:gd name="connsiteX73" fmla="*/ 1409763 w 6616265"/>
              <a:gd name="connsiteY73" fmla="*/ 4548338 h 6843715"/>
              <a:gd name="connsiteX74" fmla="*/ 1404469 w 6616265"/>
              <a:gd name="connsiteY74" fmla="*/ 4585134 h 6843715"/>
              <a:gd name="connsiteX75" fmla="*/ 1411993 w 6616265"/>
              <a:gd name="connsiteY75" fmla="*/ 4638076 h 6843715"/>
              <a:gd name="connsiteX76" fmla="*/ 1402746 w 6616265"/>
              <a:gd name="connsiteY76" fmla="*/ 4683789 h 6843715"/>
              <a:gd name="connsiteX77" fmla="*/ 1201250 w 6616265"/>
              <a:gd name="connsiteY77" fmla="*/ 4817424 h 6843715"/>
              <a:gd name="connsiteX78" fmla="*/ 982548 w 6616265"/>
              <a:gd name="connsiteY78" fmla="*/ 4598720 h 6843715"/>
              <a:gd name="connsiteX79" fmla="*/ 1201250 w 6616265"/>
              <a:gd name="connsiteY79" fmla="*/ 4380018 h 6843715"/>
              <a:gd name="connsiteX80" fmla="*/ 56772 w 6616265"/>
              <a:gd name="connsiteY80" fmla="*/ 3971645 h 6843715"/>
              <a:gd name="connsiteX81" fmla="*/ 111609 w 6616265"/>
              <a:gd name="connsiteY81" fmla="*/ 4026482 h 6843715"/>
              <a:gd name="connsiteX82" fmla="*/ 56772 w 6616265"/>
              <a:gd name="connsiteY82" fmla="*/ 4081319 h 6843715"/>
              <a:gd name="connsiteX83" fmla="*/ 1935 w 6616265"/>
              <a:gd name="connsiteY83" fmla="*/ 4026482 h 6843715"/>
              <a:gd name="connsiteX84" fmla="*/ 56772 w 6616265"/>
              <a:gd name="connsiteY84" fmla="*/ 3971645 h 6843715"/>
              <a:gd name="connsiteX85" fmla="*/ 629011 w 6616265"/>
              <a:gd name="connsiteY85" fmla="*/ 3905840 h 6843715"/>
              <a:gd name="connsiteX86" fmla="*/ 749008 w 6616265"/>
              <a:gd name="connsiteY86" fmla="*/ 4025836 h 6843715"/>
              <a:gd name="connsiteX87" fmla="*/ 629011 w 6616265"/>
              <a:gd name="connsiteY87" fmla="*/ 4145833 h 6843715"/>
              <a:gd name="connsiteX88" fmla="*/ 509015 w 6616265"/>
              <a:gd name="connsiteY88" fmla="*/ 4025836 h 6843715"/>
              <a:gd name="connsiteX89" fmla="*/ 629011 w 6616265"/>
              <a:gd name="connsiteY89" fmla="*/ 3905840 h 6843715"/>
              <a:gd name="connsiteX90" fmla="*/ 1203892 w 6616265"/>
              <a:gd name="connsiteY90" fmla="*/ 3814493 h 6843715"/>
              <a:gd name="connsiteX91" fmla="*/ 1409012 w 6616265"/>
              <a:gd name="connsiteY91" fmla="*/ 3986119 h 6843715"/>
              <a:gd name="connsiteX92" fmla="*/ 1410785 w 6616265"/>
              <a:gd name="connsiteY92" fmla="*/ 4005809 h 6843715"/>
              <a:gd name="connsiteX93" fmla="*/ 1410276 w 6616265"/>
              <a:gd name="connsiteY93" fmla="*/ 4012250 h 6843715"/>
              <a:gd name="connsiteX94" fmla="*/ 1412759 w 6616265"/>
              <a:gd name="connsiteY94" fmla="*/ 4029675 h 6843715"/>
              <a:gd name="connsiteX95" fmla="*/ 1408258 w 6616265"/>
              <a:gd name="connsiteY95" fmla="*/ 4070146 h 6843715"/>
              <a:gd name="connsiteX96" fmla="*/ 1241229 w 6616265"/>
              <a:gd name="connsiteY96" fmla="*/ 4233930 h 6843715"/>
              <a:gd name="connsiteX97" fmla="*/ 993420 w 6616265"/>
              <a:gd name="connsiteY97" fmla="*/ 4066148 h 6843715"/>
              <a:gd name="connsiteX98" fmla="*/ 1161200 w 6616265"/>
              <a:gd name="connsiteY98" fmla="*/ 3818336 h 6843715"/>
              <a:gd name="connsiteX99" fmla="*/ 1203892 w 6616265"/>
              <a:gd name="connsiteY99" fmla="*/ 3814493 h 6843715"/>
              <a:gd name="connsiteX100" fmla="*/ 56773 w 6616265"/>
              <a:gd name="connsiteY100" fmla="*/ 3404567 h 6843715"/>
              <a:gd name="connsiteX101" fmla="*/ 105802 w 6616265"/>
              <a:gd name="connsiteY101" fmla="*/ 3453598 h 6843715"/>
              <a:gd name="connsiteX102" fmla="*/ 56773 w 6616265"/>
              <a:gd name="connsiteY102" fmla="*/ 3502627 h 6843715"/>
              <a:gd name="connsiteX103" fmla="*/ 7742 w 6616265"/>
              <a:gd name="connsiteY103" fmla="*/ 3453598 h 6843715"/>
              <a:gd name="connsiteX104" fmla="*/ 56773 w 6616265"/>
              <a:gd name="connsiteY104" fmla="*/ 3404567 h 6843715"/>
              <a:gd name="connsiteX105" fmla="*/ 629011 w 6616265"/>
              <a:gd name="connsiteY105" fmla="*/ 3346504 h 6843715"/>
              <a:gd name="connsiteX106" fmla="*/ 736105 w 6616265"/>
              <a:gd name="connsiteY106" fmla="*/ 3453598 h 6843715"/>
              <a:gd name="connsiteX107" fmla="*/ 629011 w 6616265"/>
              <a:gd name="connsiteY107" fmla="*/ 3560691 h 6843715"/>
              <a:gd name="connsiteX108" fmla="*/ 521918 w 6616265"/>
              <a:gd name="connsiteY108" fmla="*/ 3453598 h 6843715"/>
              <a:gd name="connsiteX109" fmla="*/ 629011 w 6616265"/>
              <a:gd name="connsiteY109" fmla="*/ 3346504 h 6843715"/>
              <a:gd name="connsiteX110" fmla="*/ 1202686 w 6616265"/>
              <a:gd name="connsiteY110" fmla="*/ 3262070 h 6843715"/>
              <a:gd name="connsiteX111" fmla="*/ 1378371 w 6616265"/>
              <a:gd name="connsiteY111" fmla="*/ 3380400 h 6843715"/>
              <a:gd name="connsiteX112" fmla="*/ 1274673 w 6616265"/>
              <a:gd name="connsiteY112" fmla="*/ 3630753 h 6843715"/>
              <a:gd name="connsiteX113" fmla="*/ 1024320 w 6616265"/>
              <a:gd name="connsiteY113" fmla="*/ 3527055 h 6843715"/>
              <a:gd name="connsiteX114" fmla="*/ 1128017 w 6616265"/>
              <a:gd name="connsiteY114" fmla="*/ 3276702 h 6843715"/>
              <a:gd name="connsiteX115" fmla="*/ 1202686 w 6616265"/>
              <a:gd name="connsiteY115" fmla="*/ 3262070 h 6843715"/>
              <a:gd name="connsiteX116" fmla="*/ 56772 w 6616265"/>
              <a:gd name="connsiteY116" fmla="*/ 2842650 h 6843715"/>
              <a:gd name="connsiteX117" fmla="*/ 95481 w 6616265"/>
              <a:gd name="connsiteY117" fmla="*/ 2881358 h 6843715"/>
              <a:gd name="connsiteX118" fmla="*/ 56772 w 6616265"/>
              <a:gd name="connsiteY118" fmla="*/ 2920067 h 6843715"/>
              <a:gd name="connsiteX119" fmla="*/ 18064 w 6616265"/>
              <a:gd name="connsiteY119" fmla="*/ 2881358 h 6843715"/>
              <a:gd name="connsiteX120" fmla="*/ 56772 w 6616265"/>
              <a:gd name="connsiteY120" fmla="*/ 2842650 h 6843715"/>
              <a:gd name="connsiteX121" fmla="*/ 629011 w 6616265"/>
              <a:gd name="connsiteY121" fmla="*/ 2794264 h 6843715"/>
              <a:gd name="connsiteX122" fmla="*/ 716105 w 6616265"/>
              <a:gd name="connsiteY122" fmla="*/ 2881358 h 6843715"/>
              <a:gd name="connsiteX123" fmla="*/ 629011 w 6616265"/>
              <a:gd name="connsiteY123" fmla="*/ 2968451 h 6843715"/>
              <a:gd name="connsiteX124" fmla="*/ 541918 w 6616265"/>
              <a:gd name="connsiteY124" fmla="*/ 2881358 h 6843715"/>
              <a:gd name="connsiteX125" fmla="*/ 629011 w 6616265"/>
              <a:gd name="connsiteY125" fmla="*/ 2794264 h 6843715"/>
              <a:gd name="connsiteX126" fmla="*/ 1201251 w 6616265"/>
              <a:gd name="connsiteY126" fmla="*/ 2715556 h 6843715"/>
              <a:gd name="connsiteX127" fmla="*/ 1367053 w 6616265"/>
              <a:gd name="connsiteY127" fmla="*/ 2881358 h 6843715"/>
              <a:gd name="connsiteX128" fmla="*/ 1201251 w 6616265"/>
              <a:gd name="connsiteY128" fmla="*/ 3047159 h 6843715"/>
              <a:gd name="connsiteX129" fmla="*/ 1035450 w 6616265"/>
              <a:gd name="connsiteY129" fmla="*/ 2881358 h 6843715"/>
              <a:gd name="connsiteX130" fmla="*/ 1201251 w 6616265"/>
              <a:gd name="connsiteY130" fmla="*/ 2715556 h 6843715"/>
              <a:gd name="connsiteX131" fmla="*/ 629011 w 6616265"/>
              <a:gd name="connsiteY131" fmla="*/ 2240733 h 6843715"/>
              <a:gd name="connsiteX132" fmla="*/ 696752 w 6616265"/>
              <a:gd name="connsiteY132" fmla="*/ 2308473 h 6843715"/>
              <a:gd name="connsiteX133" fmla="*/ 629011 w 6616265"/>
              <a:gd name="connsiteY133" fmla="*/ 2376215 h 6843715"/>
              <a:gd name="connsiteX134" fmla="*/ 561272 w 6616265"/>
              <a:gd name="connsiteY134" fmla="*/ 2308473 h 6843715"/>
              <a:gd name="connsiteX135" fmla="*/ 629011 w 6616265"/>
              <a:gd name="connsiteY135" fmla="*/ 2240733 h 6843715"/>
              <a:gd name="connsiteX136" fmla="*/ 1201250 w 6616265"/>
              <a:gd name="connsiteY136" fmla="*/ 2176227 h 6843715"/>
              <a:gd name="connsiteX137" fmla="*/ 1333504 w 6616265"/>
              <a:gd name="connsiteY137" fmla="*/ 2308480 h 6843715"/>
              <a:gd name="connsiteX138" fmla="*/ 1201250 w 6616265"/>
              <a:gd name="connsiteY138" fmla="*/ 2440726 h 6843715"/>
              <a:gd name="connsiteX139" fmla="*/ 1068997 w 6616265"/>
              <a:gd name="connsiteY139" fmla="*/ 2308480 h 6843715"/>
              <a:gd name="connsiteX140" fmla="*/ 1201250 w 6616265"/>
              <a:gd name="connsiteY140" fmla="*/ 2176227 h 6843715"/>
              <a:gd name="connsiteX141" fmla="*/ 1773490 w 6616265"/>
              <a:gd name="connsiteY141" fmla="*/ 2088481 h 6843715"/>
              <a:gd name="connsiteX142" fmla="*/ 1976166 w 6616265"/>
              <a:gd name="connsiteY142" fmla="*/ 2222936 h 6843715"/>
              <a:gd name="connsiteX143" fmla="*/ 1987399 w 6616265"/>
              <a:gd name="connsiteY143" fmla="*/ 2278426 h 6843715"/>
              <a:gd name="connsiteX144" fmla="*/ 1985740 w 6616265"/>
              <a:gd name="connsiteY144" fmla="*/ 2294891 h 6843715"/>
              <a:gd name="connsiteX145" fmla="*/ 1989817 w 6616265"/>
              <a:gd name="connsiteY145" fmla="*/ 2326586 h 6843715"/>
              <a:gd name="connsiteX146" fmla="*/ 1976166 w 6616265"/>
              <a:gd name="connsiteY146" fmla="*/ 2394018 h 6843715"/>
              <a:gd name="connsiteX147" fmla="*/ 1773490 w 6616265"/>
              <a:gd name="connsiteY147" fmla="*/ 2528464 h 6843715"/>
              <a:gd name="connsiteX148" fmla="*/ 1553498 w 6616265"/>
              <a:gd name="connsiteY148" fmla="*/ 2308473 h 6843715"/>
              <a:gd name="connsiteX149" fmla="*/ 1773490 w 6616265"/>
              <a:gd name="connsiteY149" fmla="*/ 2088481 h 6843715"/>
              <a:gd name="connsiteX150" fmla="*/ 629011 w 6616265"/>
              <a:gd name="connsiteY150" fmla="*/ 1688493 h 6843715"/>
              <a:gd name="connsiteX151" fmla="*/ 676752 w 6616265"/>
              <a:gd name="connsiteY151" fmla="*/ 1736234 h 6843715"/>
              <a:gd name="connsiteX152" fmla="*/ 629011 w 6616265"/>
              <a:gd name="connsiteY152" fmla="*/ 1783975 h 6843715"/>
              <a:gd name="connsiteX153" fmla="*/ 581271 w 6616265"/>
              <a:gd name="connsiteY153" fmla="*/ 1736234 h 6843715"/>
              <a:gd name="connsiteX154" fmla="*/ 629011 w 6616265"/>
              <a:gd name="connsiteY154" fmla="*/ 1688493 h 6843715"/>
              <a:gd name="connsiteX155" fmla="*/ 1201250 w 6616265"/>
              <a:gd name="connsiteY155" fmla="*/ 1639465 h 6843715"/>
              <a:gd name="connsiteX156" fmla="*/ 1298022 w 6616265"/>
              <a:gd name="connsiteY156" fmla="*/ 1736237 h 6843715"/>
              <a:gd name="connsiteX157" fmla="*/ 1201250 w 6616265"/>
              <a:gd name="connsiteY157" fmla="*/ 1833008 h 6843715"/>
              <a:gd name="connsiteX158" fmla="*/ 1104480 w 6616265"/>
              <a:gd name="connsiteY158" fmla="*/ 1736237 h 6843715"/>
              <a:gd name="connsiteX159" fmla="*/ 1201250 w 6616265"/>
              <a:gd name="connsiteY159" fmla="*/ 1639465 h 6843715"/>
              <a:gd name="connsiteX160" fmla="*/ 1741933 w 6616265"/>
              <a:gd name="connsiteY160" fmla="*/ 1572389 h 6843715"/>
              <a:gd name="connsiteX161" fmla="*/ 1937614 w 6616265"/>
              <a:gd name="connsiteY161" fmla="*/ 1704875 h 6843715"/>
              <a:gd name="connsiteX162" fmla="*/ 1805127 w 6616265"/>
              <a:gd name="connsiteY162" fmla="*/ 1900555 h 6843715"/>
              <a:gd name="connsiteX163" fmla="*/ 1609447 w 6616265"/>
              <a:gd name="connsiteY163" fmla="*/ 1768068 h 6843715"/>
              <a:gd name="connsiteX164" fmla="*/ 1741933 w 6616265"/>
              <a:gd name="connsiteY164" fmla="*/ 1572389 h 6843715"/>
              <a:gd name="connsiteX165" fmla="*/ 1189474 w 6616265"/>
              <a:gd name="connsiteY165" fmla="*/ 1102707 h 6843715"/>
              <a:gd name="connsiteX166" fmla="*/ 1262761 w 6616265"/>
              <a:gd name="connsiteY166" fmla="*/ 1152327 h 6843715"/>
              <a:gd name="connsiteX167" fmla="*/ 1213141 w 6616265"/>
              <a:gd name="connsiteY167" fmla="*/ 1225613 h 6843715"/>
              <a:gd name="connsiteX168" fmla="*/ 1139856 w 6616265"/>
              <a:gd name="connsiteY168" fmla="*/ 1175994 h 6843715"/>
              <a:gd name="connsiteX169" fmla="*/ 1189474 w 6616265"/>
              <a:gd name="connsiteY169" fmla="*/ 1102707 h 6843715"/>
              <a:gd name="connsiteX170" fmla="*/ 1773490 w 6616265"/>
              <a:gd name="connsiteY170" fmla="*/ 1043355 h 6843715"/>
              <a:gd name="connsiteX171" fmla="*/ 1894132 w 6616265"/>
              <a:gd name="connsiteY171" fmla="*/ 1163996 h 6843715"/>
              <a:gd name="connsiteX172" fmla="*/ 1773490 w 6616265"/>
              <a:gd name="connsiteY172" fmla="*/ 1284638 h 6843715"/>
              <a:gd name="connsiteX173" fmla="*/ 1652849 w 6616265"/>
              <a:gd name="connsiteY173" fmla="*/ 1163996 h 6843715"/>
              <a:gd name="connsiteX174" fmla="*/ 1773490 w 6616265"/>
              <a:gd name="connsiteY174" fmla="*/ 1043355 h 6843715"/>
              <a:gd name="connsiteX175" fmla="*/ 2346375 w 6616265"/>
              <a:gd name="connsiteY175" fmla="*/ 973034 h 6843715"/>
              <a:gd name="connsiteX176" fmla="*/ 2537336 w 6616265"/>
              <a:gd name="connsiteY176" fmla="*/ 1163996 h 6843715"/>
              <a:gd name="connsiteX177" fmla="*/ 2346375 w 6616265"/>
              <a:gd name="connsiteY177" fmla="*/ 1354957 h 6843715"/>
              <a:gd name="connsiteX178" fmla="*/ 2155413 w 6616265"/>
              <a:gd name="connsiteY178" fmla="*/ 1163996 h 6843715"/>
              <a:gd name="connsiteX179" fmla="*/ 2346375 w 6616265"/>
              <a:gd name="connsiteY179" fmla="*/ 973034 h 6843715"/>
              <a:gd name="connsiteX180" fmla="*/ 1201251 w 6616265"/>
              <a:gd name="connsiteY180" fmla="*/ 554986 h 6843715"/>
              <a:gd name="connsiteX181" fmla="*/ 1238024 w 6616265"/>
              <a:gd name="connsiteY181" fmla="*/ 591758 h 6843715"/>
              <a:gd name="connsiteX182" fmla="*/ 1201251 w 6616265"/>
              <a:gd name="connsiteY182" fmla="*/ 628531 h 6843715"/>
              <a:gd name="connsiteX183" fmla="*/ 1164478 w 6616265"/>
              <a:gd name="connsiteY183" fmla="*/ 591758 h 6843715"/>
              <a:gd name="connsiteX184" fmla="*/ 1201251 w 6616265"/>
              <a:gd name="connsiteY184" fmla="*/ 554986 h 6843715"/>
              <a:gd name="connsiteX185" fmla="*/ 1773490 w 6616265"/>
              <a:gd name="connsiteY185" fmla="*/ 516275 h 6843715"/>
              <a:gd name="connsiteX186" fmla="*/ 1848972 w 6616265"/>
              <a:gd name="connsiteY186" fmla="*/ 591757 h 6843715"/>
              <a:gd name="connsiteX187" fmla="*/ 1773490 w 6616265"/>
              <a:gd name="connsiteY187" fmla="*/ 667238 h 6843715"/>
              <a:gd name="connsiteX188" fmla="*/ 1698009 w 6616265"/>
              <a:gd name="connsiteY188" fmla="*/ 591757 h 6843715"/>
              <a:gd name="connsiteX189" fmla="*/ 1773490 w 6616265"/>
              <a:gd name="connsiteY189" fmla="*/ 516275 h 6843715"/>
              <a:gd name="connsiteX190" fmla="*/ 2346375 w 6616265"/>
              <a:gd name="connsiteY190" fmla="*/ 462084 h 6843715"/>
              <a:gd name="connsiteX191" fmla="*/ 2476048 w 6616265"/>
              <a:gd name="connsiteY191" fmla="*/ 591757 h 6843715"/>
              <a:gd name="connsiteX192" fmla="*/ 2346375 w 6616265"/>
              <a:gd name="connsiteY192" fmla="*/ 721429 h 6843715"/>
              <a:gd name="connsiteX193" fmla="*/ 2216701 w 6616265"/>
              <a:gd name="connsiteY193" fmla="*/ 591757 h 6843715"/>
              <a:gd name="connsiteX194" fmla="*/ 2346375 w 6616265"/>
              <a:gd name="connsiteY194" fmla="*/ 462084 h 6843715"/>
              <a:gd name="connsiteX195" fmla="*/ 2918615 w 6616265"/>
              <a:gd name="connsiteY195" fmla="*/ 395638 h 6843715"/>
              <a:gd name="connsiteX196" fmla="*/ 3114093 w 6616265"/>
              <a:gd name="connsiteY196" fmla="*/ 591115 h 6843715"/>
              <a:gd name="connsiteX197" fmla="*/ 2918615 w 6616265"/>
              <a:gd name="connsiteY197" fmla="*/ 786593 h 6843715"/>
              <a:gd name="connsiteX198" fmla="*/ 2723138 w 6616265"/>
              <a:gd name="connsiteY198" fmla="*/ 591115 h 6843715"/>
              <a:gd name="connsiteX199" fmla="*/ 2918615 w 6616265"/>
              <a:gd name="connsiteY199" fmla="*/ 395638 h 6843715"/>
              <a:gd name="connsiteX200" fmla="*/ 4310583 w 6616265"/>
              <a:gd name="connsiteY200" fmla="*/ 0 h 6843715"/>
              <a:gd name="connsiteX201" fmla="*/ 6616265 w 6616265"/>
              <a:gd name="connsiteY201" fmla="*/ 0 h 6843715"/>
              <a:gd name="connsiteX202" fmla="*/ 6616265 w 6616265"/>
              <a:gd name="connsiteY202" fmla="*/ 6843715 h 6843715"/>
              <a:gd name="connsiteX203" fmla="*/ 1487341 w 6616265"/>
              <a:gd name="connsiteY203" fmla="*/ 6843715 h 6843715"/>
              <a:gd name="connsiteX204" fmla="*/ 1496539 w 6616265"/>
              <a:gd name="connsiteY204" fmla="*/ 6801672 h 6843715"/>
              <a:gd name="connsiteX205" fmla="*/ 1727039 w 6616265"/>
              <a:gd name="connsiteY205" fmla="*/ 6632808 h 6843715"/>
              <a:gd name="connsiteX206" fmla="*/ 1965741 w 6616265"/>
              <a:gd name="connsiteY206" fmla="*/ 6834092 h 6843715"/>
              <a:gd name="connsiteX207" fmla="*/ 2090255 w 6616265"/>
              <a:gd name="connsiteY207" fmla="*/ 6611519 h 6843715"/>
              <a:gd name="connsiteX208" fmla="*/ 1960580 w 6616265"/>
              <a:gd name="connsiteY208" fmla="*/ 6459266 h 6843715"/>
              <a:gd name="connsiteX209" fmla="*/ 1727039 w 6616265"/>
              <a:gd name="connsiteY209" fmla="*/ 6583778 h 6843715"/>
              <a:gd name="connsiteX210" fmla="*/ 1445758 w 6616265"/>
              <a:gd name="connsiteY210" fmla="*/ 6302497 h 6843715"/>
              <a:gd name="connsiteX211" fmla="*/ 1658654 w 6616265"/>
              <a:gd name="connsiteY211" fmla="*/ 6029603 h 6843715"/>
              <a:gd name="connsiteX212" fmla="*/ 1419307 w 6616265"/>
              <a:gd name="connsiteY212" fmla="*/ 5729612 h 6843715"/>
              <a:gd name="connsiteX213" fmla="*/ 1598012 w 6616265"/>
              <a:gd name="connsiteY213" fmla="*/ 5450912 h 6843715"/>
              <a:gd name="connsiteX214" fmla="*/ 1420467 w 6616265"/>
              <a:gd name="connsiteY214" fmla="*/ 5251503 h 6843715"/>
              <a:gd name="connsiteX215" fmla="*/ 1412511 w 6616265"/>
              <a:gd name="connsiteY215" fmla="*/ 5198249 h 6843715"/>
              <a:gd name="connsiteX216" fmla="*/ 1418018 w 6616265"/>
              <a:gd name="connsiteY216" fmla="*/ 5170959 h 6843715"/>
              <a:gd name="connsiteX217" fmla="*/ 1410074 w 6616265"/>
              <a:gd name="connsiteY217" fmla="*/ 5131470 h 6843715"/>
              <a:gd name="connsiteX218" fmla="*/ 1419106 w 6616265"/>
              <a:gd name="connsiteY218" fmla="*/ 5067729 h 6843715"/>
              <a:gd name="connsiteX219" fmla="*/ 1580592 w 6616265"/>
              <a:gd name="connsiteY219" fmla="*/ 4872221 h 6843715"/>
              <a:gd name="connsiteX220" fmla="*/ 1417291 w 6616265"/>
              <a:gd name="connsiteY220" fmla="*/ 4675353 h 6843715"/>
              <a:gd name="connsiteX221" fmla="*/ 1411993 w 6616265"/>
              <a:gd name="connsiteY221" fmla="*/ 4638076 h 6843715"/>
              <a:gd name="connsiteX222" fmla="*/ 1419954 w 6616265"/>
              <a:gd name="connsiteY222" fmla="*/ 4598720 h 6843715"/>
              <a:gd name="connsiteX223" fmla="*/ 1409763 w 6616265"/>
              <a:gd name="connsiteY223" fmla="*/ 4548338 h 6843715"/>
              <a:gd name="connsiteX224" fmla="*/ 1417623 w 6616265"/>
              <a:gd name="connsiteY224" fmla="*/ 4493696 h 6843715"/>
              <a:gd name="connsiteX225" fmla="*/ 1584463 w 6616265"/>
              <a:gd name="connsiteY225" fmla="*/ 4295466 h 6843715"/>
              <a:gd name="connsiteX226" fmla="*/ 1422978 w 6616265"/>
              <a:gd name="connsiteY226" fmla="*/ 4101409 h 6843715"/>
              <a:gd name="connsiteX227" fmla="*/ 1412759 w 6616265"/>
              <a:gd name="connsiteY227" fmla="*/ 4029675 h 6843715"/>
              <a:gd name="connsiteX228" fmla="*/ 1412855 w 6616265"/>
              <a:gd name="connsiteY228" fmla="*/ 4028809 h 6843715"/>
              <a:gd name="connsiteX229" fmla="*/ 1410785 w 6616265"/>
              <a:gd name="connsiteY229" fmla="*/ 4005809 h 6843715"/>
              <a:gd name="connsiteX230" fmla="*/ 1414258 w 6616265"/>
              <a:gd name="connsiteY230" fmla="*/ 3961788 h 6843715"/>
              <a:gd name="connsiteX231" fmla="*/ 1619945 w 6616265"/>
              <a:gd name="connsiteY231" fmla="*/ 3714195 h 6843715"/>
              <a:gd name="connsiteX232" fmla="*/ 1432210 w 6616265"/>
              <a:gd name="connsiteY232" fmla="*/ 3440010 h 6843715"/>
              <a:gd name="connsiteX233" fmla="*/ 1727039 w 6616265"/>
              <a:gd name="connsiteY233" fmla="*/ 3145181 h 6843715"/>
              <a:gd name="connsiteX234" fmla="*/ 1959290 w 6616265"/>
              <a:gd name="connsiteY234" fmla="*/ 3259371 h 6843715"/>
              <a:gd name="connsiteX235" fmla="*/ 2066382 w 6616265"/>
              <a:gd name="connsiteY235" fmla="*/ 3133569 h 6843715"/>
              <a:gd name="connsiteX236" fmla="*/ 1963805 w 6616265"/>
              <a:gd name="connsiteY236" fmla="*/ 2980026 h 6843715"/>
              <a:gd name="connsiteX237" fmla="*/ 1726393 w 6616265"/>
              <a:gd name="connsiteY237" fmla="*/ 3129697 h 6843715"/>
              <a:gd name="connsiteX238" fmla="*/ 1463822 w 6616265"/>
              <a:gd name="connsiteY238" fmla="*/ 2867126 h 6843715"/>
              <a:gd name="connsiteX239" fmla="*/ 1726393 w 6616265"/>
              <a:gd name="connsiteY239" fmla="*/ 2604554 h 6843715"/>
              <a:gd name="connsiteX240" fmla="*/ 1963805 w 6616265"/>
              <a:gd name="connsiteY240" fmla="*/ 2754227 h 6843715"/>
              <a:gd name="connsiteX241" fmla="*/ 2128316 w 6616265"/>
              <a:gd name="connsiteY241" fmla="*/ 2557458 h 6843715"/>
              <a:gd name="connsiteX242" fmla="*/ 1995952 w 6616265"/>
              <a:gd name="connsiteY242" fmla="*/ 2374289 h 6843715"/>
              <a:gd name="connsiteX243" fmla="*/ 1989817 w 6616265"/>
              <a:gd name="connsiteY243" fmla="*/ 2326586 h 6843715"/>
              <a:gd name="connsiteX244" fmla="*/ 1993483 w 6616265"/>
              <a:gd name="connsiteY244" fmla="*/ 2308473 h 6843715"/>
              <a:gd name="connsiteX245" fmla="*/ 1987399 w 6616265"/>
              <a:gd name="connsiteY245" fmla="*/ 2278426 h 6843715"/>
              <a:gd name="connsiteX246" fmla="*/ 1992121 w 6616265"/>
              <a:gd name="connsiteY246" fmla="*/ 2231592 h 6843715"/>
              <a:gd name="connsiteX247" fmla="*/ 2299279 w 6616265"/>
              <a:gd name="connsiteY247" fmla="*/ 1981352 h 6843715"/>
              <a:gd name="connsiteX248" fmla="*/ 2538627 w 6616265"/>
              <a:gd name="connsiteY248" fmla="*/ 2092962 h 6843715"/>
              <a:gd name="connsiteX249" fmla="*/ 2647655 w 6616265"/>
              <a:gd name="connsiteY249" fmla="*/ 1976190 h 6843715"/>
              <a:gd name="connsiteX250" fmla="*/ 2542497 w 6616265"/>
              <a:gd name="connsiteY250" fmla="*/ 1803293 h 6843715"/>
              <a:gd name="connsiteX251" fmla="*/ 2298633 w 6616265"/>
              <a:gd name="connsiteY251" fmla="*/ 1979417 h 6843715"/>
              <a:gd name="connsiteX252" fmla="*/ 2041223 w 6616265"/>
              <a:gd name="connsiteY252" fmla="*/ 1722003 h 6843715"/>
              <a:gd name="connsiteX253" fmla="*/ 2298633 w 6616265"/>
              <a:gd name="connsiteY253" fmla="*/ 1464593 h 6843715"/>
              <a:gd name="connsiteX254" fmla="*/ 2542497 w 6616265"/>
              <a:gd name="connsiteY254" fmla="*/ 1640718 h 6843715"/>
              <a:gd name="connsiteX255" fmla="*/ 2760555 w 6616265"/>
              <a:gd name="connsiteY255" fmla="*/ 1402016 h 6843715"/>
              <a:gd name="connsiteX256" fmla="*/ 2595400 w 6616265"/>
              <a:gd name="connsiteY256" fmla="*/ 1149118 h 6843715"/>
              <a:gd name="connsiteX257" fmla="*/ 2871517 w 6616265"/>
              <a:gd name="connsiteY257" fmla="*/ 872997 h 6843715"/>
              <a:gd name="connsiteX258" fmla="*/ 3123123 w 6616265"/>
              <a:gd name="connsiteY258" fmla="*/ 1035574 h 6843715"/>
              <a:gd name="connsiteX259" fmla="*/ 3348277 w 6616265"/>
              <a:gd name="connsiteY259" fmla="*/ 822035 h 6843715"/>
              <a:gd name="connsiteX260" fmla="*/ 3179895 w 6616265"/>
              <a:gd name="connsiteY260" fmla="*/ 576235 h 6843715"/>
              <a:gd name="connsiteX261" fmla="*/ 3443757 w 6616265"/>
              <a:gd name="connsiteY261" fmla="*/ 312373 h 6843715"/>
              <a:gd name="connsiteX262" fmla="*/ 3699877 w 6616265"/>
              <a:gd name="connsiteY262" fmla="*/ 514303 h 6843715"/>
              <a:gd name="connsiteX263" fmla="*/ 4015997 w 6616265"/>
              <a:gd name="connsiteY263" fmla="*/ 254311 h 6843715"/>
              <a:gd name="connsiteX264" fmla="*/ 4275343 w 6616265"/>
              <a:gd name="connsiteY264" fmla="*/ 385274 h 6843715"/>
              <a:gd name="connsiteX265" fmla="*/ 4441789 w 6616265"/>
              <a:gd name="connsiteY265" fmla="*/ 240118 h 6843715"/>
              <a:gd name="connsiteX266" fmla="*/ 4310179 w 6616265"/>
              <a:gd name="connsiteY266" fmla="*/ 3997 h 6843715"/>
              <a:gd name="connsiteX267" fmla="*/ 3836709 w 6616265"/>
              <a:gd name="connsiteY267" fmla="*/ 0 h 6843715"/>
              <a:gd name="connsiteX268" fmla="*/ 4290765 w 6616265"/>
              <a:gd name="connsiteY268" fmla="*/ 0 h 6843715"/>
              <a:gd name="connsiteX269" fmla="*/ 4294697 w 6616265"/>
              <a:gd name="connsiteY269" fmla="*/ 19521 h 6843715"/>
              <a:gd name="connsiteX270" fmla="*/ 4063739 w 6616265"/>
              <a:gd name="connsiteY270" fmla="*/ 250481 h 6843715"/>
              <a:gd name="connsiteX271" fmla="*/ 3832777 w 6616265"/>
              <a:gd name="connsiteY271" fmla="*/ 19521 h 6843715"/>
              <a:gd name="connsiteX272" fmla="*/ 3315961 w 6616265"/>
              <a:gd name="connsiteY272" fmla="*/ 0 h 6843715"/>
              <a:gd name="connsiteX273" fmla="*/ 3665747 w 6616265"/>
              <a:gd name="connsiteY273" fmla="*/ 0 h 6843715"/>
              <a:gd name="connsiteX274" fmla="*/ 3669557 w 6616265"/>
              <a:gd name="connsiteY274" fmla="*/ 18877 h 6843715"/>
              <a:gd name="connsiteX275" fmla="*/ 3490853 w 6616265"/>
              <a:gd name="connsiteY275" fmla="*/ 197580 h 6843715"/>
              <a:gd name="connsiteX276" fmla="*/ 3312149 w 6616265"/>
              <a:gd name="connsiteY276" fmla="*/ 18877 h 6843715"/>
              <a:gd name="connsiteX277" fmla="*/ 2797407 w 6616265"/>
              <a:gd name="connsiteY277" fmla="*/ 0 h 6843715"/>
              <a:gd name="connsiteX278" fmla="*/ 3039823 w 6616265"/>
              <a:gd name="connsiteY278" fmla="*/ 0 h 6843715"/>
              <a:gd name="connsiteX279" fmla="*/ 3043771 w 6616265"/>
              <a:gd name="connsiteY279" fmla="*/ 19521 h 6843715"/>
              <a:gd name="connsiteX280" fmla="*/ 2918615 w 6616265"/>
              <a:gd name="connsiteY280" fmla="*/ 144678 h 6843715"/>
              <a:gd name="connsiteX281" fmla="*/ 2793457 w 6616265"/>
              <a:gd name="connsiteY281" fmla="*/ 19521 h 6843715"/>
              <a:gd name="connsiteX282" fmla="*/ 2274893 w 6616265"/>
              <a:gd name="connsiteY282" fmla="*/ 0 h 6843715"/>
              <a:gd name="connsiteX283" fmla="*/ 2417855 w 6616265"/>
              <a:gd name="connsiteY283" fmla="*/ 0 h 6843715"/>
              <a:gd name="connsiteX284" fmla="*/ 2421856 w 6616265"/>
              <a:gd name="connsiteY284" fmla="*/ 19518 h 6843715"/>
              <a:gd name="connsiteX285" fmla="*/ 2346375 w 6616265"/>
              <a:gd name="connsiteY285" fmla="*/ 94999 h 6843715"/>
              <a:gd name="connsiteX286" fmla="*/ 2270893 w 6616265"/>
              <a:gd name="connsiteY286" fmla="*/ 19518 h 6843715"/>
              <a:gd name="connsiteX287" fmla="*/ 1740884 w 6616265"/>
              <a:gd name="connsiteY287" fmla="*/ 0 h 6843715"/>
              <a:gd name="connsiteX288" fmla="*/ 1806098 w 6616265"/>
              <a:gd name="connsiteY288" fmla="*/ 0 h 6843715"/>
              <a:gd name="connsiteX289" fmla="*/ 1814136 w 6616265"/>
              <a:gd name="connsiteY289" fmla="*/ 19519 h 6843715"/>
              <a:gd name="connsiteX290" fmla="*/ 1773490 w 6616265"/>
              <a:gd name="connsiteY290" fmla="*/ 60163 h 6843715"/>
              <a:gd name="connsiteX291" fmla="*/ 1732847 w 6616265"/>
              <a:gd name="connsiteY291" fmla="*/ 19519 h 68437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Lst>
            <a:rect l="l" t="t" r="r" b="b"/>
            <a:pathLst>
              <a:path w="6616265" h="6843715">
                <a:moveTo>
                  <a:pt x="629011" y="6807681"/>
                </a:moveTo>
                <a:cubicBezTo>
                  <a:pt x="645785" y="6807681"/>
                  <a:pt x="661430" y="6813003"/>
                  <a:pt x="674414" y="6821955"/>
                </a:cubicBezTo>
                <a:lnTo>
                  <a:pt x="692183" y="6843715"/>
                </a:lnTo>
                <a:lnTo>
                  <a:pt x="566186" y="6843715"/>
                </a:lnTo>
                <a:lnTo>
                  <a:pt x="583691" y="6821713"/>
                </a:lnTo>
                <a:cubicBezTo>
                  <a:pt x="596593" y="6812842"/>
                  <a:pt x="612238" y="6807681"/>
                  <a:pt x="629011" y="6807681"/>
                </a:cubicBezTo>
                <a:close/>
                <a:moveTo>
                  <a:pt x="1201250" y="6737360"/>
                </a:moveTo>
                <a:cubicBezTo>
                  <a:pt x="1255926" y="6737360"/>
                  <a:pt x="1304070" y="6766754"/>
                  <a:pt x="1330440" y="6810301"/>
                </a:cubicBezTo>
                <a:lnTo>
                  <a:pt x="1343433" y="6843715"/>
                </a:lnTo>
                <a:lnTo>
                  <a:pt x="1059118" y="6843715"/>
                </a:lnTo>
                <a:lnTo>
                  <a:pt x="1072333" y="6810029"/>
                </a:lnTo>
                <a:cubicBezTo>
                  <a:pt x="1098794" y="6766391"/>
                  <a:pt x="1146575" y="6737360"/>
                  <a:pt x="1201250" y="6737360"/>
                </a:cubicBezTo>
                <a:close/>
                <a:moveTo>
                  <a:pt x="56772" y="6273505"/>
                </a:moveTo>
                <a:cubicBezTo>
                  <a:pt x="79998" y="6273505"/>
                  <a:pt x="99350" y="6292215"/>
                  <a:pt x="99350" y="6316084"/>
                </a:cubicBezTo>
                <a:cubicBezTo>
                  <a:pt x="99350" y="6339309"/>
                  <a:pt x="80642" y="6358663"/>
                  <a:pt x="56772" y="6358663"/>
                </a:cubicBezTo>
                <a:cubicBezTo>
                  <a:pt x="33547" y="6358663"/>
                  <a:pt x="14192" y="6339955"/>
                  <a:pt x="14192" y="6316084"/>
                </a:cubicBezTo>
                <a:cubicBezTo>
                  <a:pt x="14192" y="6292860"/>
                  <a:pt x="32902" y="6273505"/>
                  <a:pt x="56772" y="6273505"/>
                </a:cubicBezTo>
                <a:close/>
                <a:moveTo>
                  <a:pt x="629011" y="6216087"/>
                </a:moveTo>
                <a:cubicBezTo>
                  <a:pt x="684494" y="6216087"/>
                  <a:pt x="729008" y="6260601"/>
                  <a:pt x="729008" y="6316083"/>
                </a:cubicBezTo>
                <a:cubicBezTo>
                  <a:pt x="729008" y="6371565"/>
                  <a:pt x="684494" y="6416081"/>
                  <a:pt x="629011" y="6416081"/>
                </a:cubicBezTo>
                <a:cubicBezTo>
                  <a:pt x="573530" y="6416081"/>
                  <a:pt x="529015" y="6371565"/>
                  <a:pt x="529015" y="6316083"/>
                </a:cubicBezTo>
                <a:cubicBezTo>
                  <a:pt x="529015" y="6260601"/>
                  <a:pt x="573530" y="6216087"/>
                  <a:pt x="629011" y="6216087"/>
                </a:cubicBezTo>
                <a:close/>
                <a:moveTo>
                  <a:pt x="1201251" y="6134800"/>
                </a:moveTo>
                <a:cubicBezTo>
                  <a:pt x="1301248" y="6134800"/>
                  <a:pt x="1382536" y="6216087"/>
                  <a:pt x="1382536" y="6316084"/>
                </a:cubicBezTo>
                <a:cubicBezTo>
                  <a:pt x="1382536" y="6416081"/>
                  <a:pt x="1301248" y="6497368"/>
                  <a:pt x="1201251" y="6497368"/>
                </a:cubicBezTo>
                <a:cubicBezTo>
                  <a:pt x="1101255" y="6497368"/>
                  <a:pt x="1019967" y="6416081"/>
                  <a:pt x="1019967" y="6316084"/>
                </a:cubicBezTo>
                <a:cubicBezTo>
                  <a:pt x="1019967" y="6216087"/>
                  <a:pt x="1101255" y="6134800"/>
                  <a:pt x="1201251" y="6134800"/>
                </a:cubicBezTo>
                <a:close/>
                <a:moveTo>
                  <a:pt x="56773" y="5692879"/>
                </a:moveTo>
                <a:cubicBezTo>
                  <a:pt x="84514" y="5692879"/>
                  <a:pt x="107093" y="5715458"/>
                  <a:pt x="107738" y="5743845"/>
                </a:cubicBezTo>
                <a:cubicBezTo>
                  <a:pt x="107738" y="5772232"/>
                  <a:pt x="85159" y="5794811"/>
                  <a:pt x="56773" y="5794811"/>
                </a:cubicBezTo>
                <a:cubicBezTo>
                  <a:pt x="28385" y="5794811"/>
                  <a:pt x="5806" y="5772232"/>
                  <a:pt x="5806" y="5743845"/>
                </a:cubicBezTo>
                <a:cubicBezTo>
                  <a:pt x="5806" y="5715458"/>
                  <a:pt x="28385" y="5692879"/>
                  <a:pt x="56773" y="5692879"/>
                </a:cubicBezTo>
                <a:close/>
                <a:moveTo>
                  <a:pt x="629011" y="5627719"/>
                </a:moveTo>
                <a:cubicBezTo>
                  <a:pt x="692881" y="5627719"/>
                  <a:pt x="744491" y="5679331"/>
                  <a:pt x="744491" y="5743199"/>
                </a:cubicBezTo>
                <a:cubicBezTo>
                  <a:pt x="744491" y="5807068"/>
                  <a:pt x="692881" y="5858679"/>
                  <a:pt x="629011" y="5858679"/>
                </a:cubicBezTo>
                <a:cubicBezTo>
                  <a:pt x="565143" y="5858679"/>
                  <a:pt x="513532" y="5807068"/>
                  <a:pt x="513532" y="5743199"/>
                </a:cubicBezTo>
                <a:cubicBezTo>
                  <a:pt x="513532" y="5679331"/>
                  <a:pt x="565143" y="5627719"/>
                  <a:pt x="629011" y="5627719"/>
                </a:cubicBezTo>
                <a:close/>
                <a:moveTo>
                  <a:pt x="1201250" y="5539980"/>
                </a:moveTo>
                <a:cubicBezTo>
                  <a:pt x="1313506" y="5539980"/>
                  <a:pt x="1404470" y="5630945"/>
                  <a:pt x="1404470" y="5743199"/>
                </a:cubicBezTo>
                <a:cubicBezTo>
                  <a:pt x="1404470" y="5855453"/>
                  <a:pt x="1313506" y="5946419"/>
                  <a:pt x="1201250" y="5946419"/>
                </a:cubicBezTo>
                <a:cubicBezTo>
                  <a:pt x="1088996" y="5946419"/>
                  <a:pt x="998031" y="5855453"/>
                  <a:pt x="998031" y="5743199"/>
                </a:cubicBezTo>
                <a:cubicBezTo>
                  <a:pt x="998031" y="5630945"/>
                  <a:pt x="1088996" y="5539980"/>
                  <a:pt x="1201250" y="5539980"/>
                </a:cubicBezTo>
                <a:close/>
                <a:moveTo>
                  <a:pt x="56772" y="5114188"/>
                </a:moveTo>
                <a:cubicBezTo>
                  <a:pt x="87739" y="5114188"/>
                  <a:pt x="113543" y="5139348"/>
                  <a:pt x="113543" y="5170960"/>
                </a:cubicBezTo>
                <a:cubicBezTo>
                  <a:pt x="113543" y="5201927"/>
                  <a:pt x="88383" y="5227732"/>
                  <a:pt x="56772" y="5227732"/>
                </a:cubicBezTo>
                <a:cubicBezTo>
                  <a:pt x="25805" y="5227732"/>
                  <a:pt x="0" y="5202572"/>
                  <a:pt x="0" y="5170960"/>
                </a:cubicBezTo>
                <a:cubicBezTo>
                  <a:pt x="0" y="5139993"/>
                  <a:pt x="25160" y="5114188"/>
                  <a:pt x="56772" y="5114188"/>
                </a:cubicBezTo>
                <a:close/>
                <a:moveTo>
                  <a:pt x="629011" y="5045803"/>
                </a:moveTo>
                <a:cubicBezTo>
                  <a:pt x="698041" y="5045803"/>
                  <a:pt x="754168" y="5101931"/>
                  <a:pt x="754168" y="5170960"/>
                </a:cubicBezTo>
                <a:cubicBezTo>
                  <a:pt x="754168" y="5239990"/>
                  <a:pt x="698041" y="5296117"/>
                  <a:pt x="629011" y="5296117"/>
                </a:cubicBezTo>
                <a:cubicBezTo>
                  <a:pt x="559981" y="5296117"/>
                  <a:pt x="503854" y="5239990"/>
                  <a:pt x="503854" y="5170960"/>
                </a:cubicBezTo>
                <a:cubicBezTo>
                  <a:pt x="503854" y="5101931"/>
                  <a:pt x="559981" y="5045803"/>
                  <a:pt x="629011" y="5045803"/>
                </a:cubicBezTo>
                <a:close/>
                <a:moveTo>
                  <a:pt x="1201250" y="4954192"/>
                </a:moveTo>
                <a:cubicBezTo>
                  <a:pt x="1291247" y="4954192"/>
                  <a:pt x="1368181" y="5008627"/>
                  <a:pt x="1401022" y="5086466"/>
                </a:cubicBezTo>
                <a:lnTo>
                  <a:pt x="1410074" y="5131470"/>
                </a:lnTo>
                <a:lnTo>
                  <a:pt x="1406404" y="5157374"/>
                </a:lnTo>
                <a:lnTo>
                  <a:pt x="1412511" y="5198249"/>
                </a:lnTo>
                <a:lnTo>
                  <a:pt x="1401022" y="5255180"/>
                </a:lnTo>
                <a:cubicBezTo>
                  <a:pt x="1368181" y="5332931"/>
                  <a:pt x="1291247" y="5387727"/>
                  <a:pt x="1201250" y="5387727"/>
                </a:cubicBezTo>
                <a:cubicBezTo>
                  <a:pt x="1081899" y="5387727"/>
                  <a:pt x="984484" y="5290955"/>
                  <a:pt x="984484" y="5170959"/>
                </a:cubicBezTo>
                <a:cubicBezTo>
                  <a:pt x="984484" y="5051608"/>
                  <a:pt x="1081254" y="4954192"/>
                  <a:pt x="1201250" y="4954192"/>
                </a:cubicBezTo>
                <a:close/>
                <a:moveTo>
                  <a:pt x="56772" y="4541948"/>
                </a:moveTo>
                <a:cubicBezTo>
                  <a:pt x="87739" y="4541948"/>
                  <a:pt x="113543" y="4567108"/>
                  <a:pt x="113543" y="4598720"/>
                </a:cubicBezTo>
                <a:cubicBezTo>
                  <a:pt x="113543" y="4629687"/>
                  <a:pt x="88383" y="4655492"/>
                  <a:pt x="56772" y="4655492"/>
                </a:cubicBezTo>
                <a:cubicBezTo>
                  <a:pt x="25805" y="4655492"/>
                  <a:pt x="0" y="4630332"/>
                  <a:pt x="0" y="4598720"/>
                </a:cubicBezTo>
                <a:cubicBezTo>
                  <a:pt x="0" y="4567753"/>
                  <a:pt x="25160" y="4541948"/>
                  <a:pt x="56772" y="4541948"/>
                </a:cubicBezTo>
                <a:close/>
                <a:moveTo>
                  <a:pt x="629011" y="4471628"/>
                </a:moveTo>
                <a:cubicBezTo>
                  <a:pt x="698687" y="4471628"/>
                  <a:pt x="755461" y="4528400"/>
                  <a:pt x="756105" y="4598720"/>
                </a:cubicBezTo>
                <a:cubicBezTo>
                  <a:pt x="756105" y="4669042"/>
                  <a:pt x="699333" y="4725814"/>
                  <a:pt x="629011" y="4725814"/>
                </a:cubicBezTo>
                <a:cubicBezTo>
                  <a:pt x="558691" y="4725814"/>
                  <a:pt x="501919" y="4669042"/>
                  <a:pt x="501919" y="4598720"/>
                </a:cubicBezTo>
                <a:cubicBezTo>
                  <a:pt x="501919" y="4528400"/>
                  <a:pt x="558691" y="4471628"/>
                  <a:pt x="629011" y="4471628"/>
                </a:cubicBezTo>
                <a:close/>
                <a:moveTo>
                  <a:pt x="1201250" y="4380018"/>
                </a:moveTo>
                <a:cubicBezTo>
                  <a:pt x="1291731" y="4380018"/>
                  <a:pt x="1369511" y="4435178"/>
                  <a:pt x="1402746" y="4513653"/>
                </a:cubicBezTo>
                <a:lnTo>
                  <a:pt x="1409763" y="4548338"/>
                </a:lnTo>
                <a:lnTo>
                  <a:pt x="1404469" y="4585134"/>
                </a:lnTo>
                <a:lnTo>
                  <a:pt x="1411993" y="4638076"/>
                </a:lnTo>
                <a:lnTo>
                  <a:pt x="1402746" y="4683789"/>
                </a:lnTo>
                <a:cubicBezTo>
                  <a:pt x="1369511" y="4762264"/>
                  <a:pt x="1291731" y="4817424"/>
                  <a:pt x="1201250" y="4817424"/>
                </a:cubicBezTo>
                <a:cubicBezTo>
                  <a:pt x="1080609" y="4817424"/>
                  <a:pt x="982548" y="4719362"/>
                  <a:pt x="982548" y="4598720"/>
                </a:cubicBezTo>
                <a:cubicBezTo>
                  <a:pt x="982548" y="4478079"/>
                  <a:pt x="1080609" y="4380018"/>
                  <a:pt x="1201250" y="4380018"/>
                </a:cubicBezTo>
                <a:close/>
                <a:moveTo>
                  <a:pt x="56772" y="3971645"/>
                </a:moveTo>
                <a:cubicBezTo>
                  <a:pt x="87093" y="3971645"/>
                  <a:pt x="111609" y="3996160"/>
                  <a:pt x="111609" y="4026482"/>
                </a:cubicBezTo>
                <a:cubicBezTo>
                  <a:pt x="111609" y="4056803"/>
                  <a:pt x="87093" y="4081319"/>
                  <a:pt x="56772" y="4081319"/>
                </a:cubicBezTo>
                <a:cubicBezTo>
                  <a:pt x="26450" y="4081319"/>
                  <a:pt x="1935" y="4056803"/>
                  <a:pt x="1935" y="4026482"/>
                </a:cubicBezTo>
                <a:cubicBezTo>
                  <a:pt x="1935" y="3996160"/>
                  <a:pt x="26450" y="3971645"/>
                  <a:pt x="56772" y="3971645"/>
                </a:cubicBezTo>
                <a:close/>
                <a:moveTo>
                  <a:pt x="629011" y="3905840"/>
                </a:moveTo>
                <a:cubicBezTo>
                  <a:pt x="695461" y="3905840"/>
                  <a:pt x="749008" y="3959386"/>
                  <a:pt x="749008" y="4025836"/>
                </a:cubicBezTo>
                <a:cubicBezTo>
                  <a:pt x="749008" y="4092286"/>
                  <a:pt x="695461" y="4145833"/>
                  <a:pt x="629011" y="4145833"/>
                </a:cubicBezTo>
                <a:cubicBezTo>
                  <a:pt x="562561" y="4145833"/>
                  <a:pt x="509015" y="4092286"/>
                  <a:pt x="509015" y="4025836"/>
                </a:cubicBezTo>
                <a:cubicBezTo>
                  <a:pt x="509015" y="3959386"/>
                  <a:pt x="562561" y="3905840"/>
                  <a:pt x="629011" y="3905840"/>
                </a:cubicBezTo>
                <a:close/>
                <a:moveTo>
                  <a:pt x="1203892" y="3814493"/>
                </a:moveTo>
                <a:cubicBezTo>
                  <a:pt x="1302314" y="3815635"/>
                  <a:pt x="1389676" y="3885701"/>
                  <a:pt x="1409012" y="3986119"/>
                </a:cubicBezTo>
                <a:lnTo>
                  <a:pt x="1410785" y="4005809"/>
                </a:lnTo>
                <a:lnTo>
                  <a:pt x="1410276" y="4012250"/>
                </a:lnTo>
                <a:lnTo>
                  <a:pt x="1412759" y="4029675"/>
                </a:lnTo>
                <a:lnTo>
                  <a:pt x="1408258" y="4070146"/>
                </a:lnTo>
                <a:cubicBezTo>
                  <a:pt x="1391074" y="4150802"/>
                  <a:pt x="1327302" y="4217356"/>
                  <a:pt x="1241229" y="4233930"/>
                </a:cubicBezTo>
                <a:cubicBezTo>
                  <a:pt x="1126467" y="4256030"/>
                  <a:pt x="1015518" y="4180911"/>
                  <a:pt x="993420" y="4066148"/>
                </a:cubicBezTo>
                <a:cubicBezTo>
                  <a:pt x="971319" y="3951384"/>
                  <a:pt x="1046437" y="3840435"/>
                  <a:pt x="1161200" y="3818336"/>
                </a:cubicBezTo>
                <a:cubicBezTo>
                  <a:pt x="1175546" y="3815574"/>
                  <a:pt x="1189832" y="3814330"/>
                  <a:pt x="1203892" y="3814493"/>
                </a:cubicBezTo>
                <a:close/>
                <a:moveTo>
                  <a:pt x="56773" y="3404567"/>
                </a:moveTo>
                <a:cubicBezTo>
                  <a:pt x="83868" y="3404567"/>
                  <a:pt x="105802" y="3426502"/>
                  <a:pt x="105802" y="3453598"/>
                </a:cubicBezTo>
                <a:cubicBezTo>
                  <a:pt x="105802" y="3480693"/>
                  <a:pt x="83868" y="3502627"/>
                  <a:pt x="56773" y="3502627"/>
                </a:cubicBezTo>
                <a:cubicBezTo>
                  <a:pt x="29677" y="3502627"/>
                  <a:pt x="7742" y="3480693"/>
                  <a:pt x="7742" y="3453598"/>
                </a:cubicBezTo>
                <a:cubicBezTo>
                  <a:pt x="7742" y="3426502"/>
                  <a:pt x="29677" y="3404567"/>
                  <a:pt x="56773" y="3404567"/>
                </a:cubicBezTo>
                <a:close/>
                <a:moveTo>
                  <a:pt x="629011" y="3346504"/>
                </a:moveTo>
                <a:cubicBezTo>
                  <a:pt x="688364" y="3346504"/>
                  <a:pt x="736105" y="3394245"/>
                  <a:pt x="736105" y="3453598"/>
                </a:cubicBezTo>
                <a:cubicBezTo>
                  <a:pt x="736105" y="3512951"/>
                  <a:pt x="688364" y="3560691"/>
                  <a:pt x="629011" y="3560691"/>
                </a:cubicBezTo>
                <a:cubicBezTo>
                  <a:pt x="569658" y="3560691"/>
                  <a:pt x="521918" y="3512951"/>
                  <a:pt x="521918" y="3453598"/>
                </a:cubicBezTo>
                <a:cubicBezTo>
                  <a:pt x="521918" y="3394245"/>
                  <a:pt x="569658" y="3346504"/>
                  <a:pt x="629011" y="3346504"/>
                </a:cubicBezTo>
                <a:close/>
                <a:moveTo>
                  <a:pt x="1202686" y="3262070"/>
                </a:moveTo>
                <a:cubicBezTo>
                  <a:pt x="1277355" y="3262626"/>
                  <a:pt x="1347997" y="3307073"/>
                  <a:pt x="1378371" y="3380400"/>
                </a:cubicBezTo>
                <a:cubicBezTo>
                  <a:pt x="1418869" y="3478168"/>
                  <a:pt x="1372441" y="3590255"/>
                  <a:pt x="1274673" y="3630753"/>
                </a:cubicBezTo>
                <a:cubicBezTo>
                  <a:pt x="1176904" y="3671251"/>
                  <a:pt x="1064816" y="3624824"/>
                  <a:pt x="1024320" y="3527055"/>
                </a:cubicBezTo>
                <a:cubicBezTo>
                  <a:pt x="983821" y="3429287"/>
                  <a:pt x="1030249" y="3317199"/>
                  <a:pt x="1128017" y="3276702"/>
                </a:cubicBezTo>
                <a:cubicBezTo>
                  <a:pt x="1152459" y="3266578"/>
                  <a:pt x="1177796" y="3261886"/>
                  <a:pt x="1202686" y="3262070"/>
                </a:cubicBezTo>
                <a:close/>
                <a:moveTo>
                  <a:pt x="56772" y="2842650"/>
                </a:moveTo>
                <a:cubicBezTo>
                  <a:pt x="78062" y="2842650"/>
                  <a:pt x="95481" y="2860069"/>
                  <a:pt x="95481" y="2881358"/>
                </a:cubicBezTo>
                <a:cubicBezTo>
                  <a:pt x="95481" y="2902648"/>
                  <a:pt x="78062" y="2920067"/>
                  <a:pt x="56772" y="2920067"/>
                </a:cubicBezTo>
                <a:cubicBezTo>
                  <a:pt x="34837" y="2920067"/>
                  <a:pt x="18064" y="2902648"/>
                  <a:pt x="18064" y="2881358"/>
                </a:cubicBezTo>
                <a:cubicBezTo>
                  <a:pt x="18064" y="2860069"/>
                  <a:pt x="35482" y="2842650"/>
                  <a:pt x="56772" y="2842650"/>
                </a:cubicBezTo>
                <a:close/>
                <a:moveTo>
                  <a:pt x="629011" y="2794264"/>
                </a:moveTo>
                <a:cubicBezTo>
                  <a:pt x="676752" y="2794264"/>
                  <a:pt x="716105" y="2832972"/>
                  <a:pt x="716105" y="2881358"/>
                </a:cubicBezTo>
                <a:cubicBezTo>
                  <a:pt x="716105" y="2929098"/>
                  <a:pt x="677397" y="2968451"/>
                  <a:pt x="629011" y="2968451"/>
                </a:cubicBezTo>
                <a:cubicBezTo>
                  <a:pt x="580626" y="2968451"/>
                  <a:pt x="541273" y="2929744"/>
                  <a:pt x="541918" y="2881358"/>
                </a:cubicBezTo>
                <a:cubicBezTo>
                  <a:pt x="541918" y="2833617"/>
                  <a:pt x="580626" y="2794264"/>
                  <a:pt x="629011" y="2794264"/>
                </a:cubicBezTo>
                <a:close/>
                <a:moveTo>
                  <a:pt x="1201251" y="2715556"/>
                </a:moveTo>
                <a:cubicBezTo>
                  <a:pt x="1292862" y="2715556"/>
                  <a:pt x="1367053" y="2789748"/>
                  <a:pt x="1367053" y="2881358"/>
                </a:cubicBezTo>
                <a:cubicBezTo>
                  <a:pt x="1367053" y="2972968"/>
                  <a:pt x="1292862" y="3047159"/>
                  <a:pt x="1201251" y="3047159"/>
                </a:cubicBezTo>
                <a:cubicBezTo>
                  <a:pt x="1109641" y="3047159"/>
                  <a:pt x="1035450" y="2972968"/>
                  <a:pt x="1035450" y="2881358"/>
                </a:cubicBezTo>
                <a:cubicBezTo>
                  <a:pt x="1035450" y="2789748"/>
                  <a:pt x="1109641" y="2715556"/>
                  <a:pt x="1201251" y="2715556"/>
                </a:cubicBezTo>
                <a:close/>
                <a:moveTo>
                  <a:pt x="629011" y="2240733"/>
                </a:moveTo>
                <a:cubicBezTo>
                  <a:pt x="666430" y="2240733"/>
                  <a:pt x="696752" y="2271056"/>
                  <a:pt x="696752" y="2308473"/>
                </a:cubicBezTo>
                <a:cubicBezTo>
                  <a:pt x="696752" y="2345890"/>
                  <a:pt x="666430" y="2376215"/>
                  <a:pt x="629011" y="2376215"/>
                </a:cubicBezTo>
                <a:cubicBezTo>
                  <a:pt x="591594" y="2376215"/>
                  <a:pt x="561272" y="2345890"/>
                  <a:pt x="561272" y="2308473"/>
                </a:cubicBezTo>
                <a:cubicBezTo>
                  <a:pt x="561272" y="2271056"/>
                  <a:pt x="591594" y="2240733"/>
                  <a:pt x="629011" y="2240733"/>
                </a:cubicBezTo>
                <a:close/>
                <a:moveTo>
                  <a:pt x="1201250" y="2176227"/>
                </a:moveTo>
                <a:cubicBezTo>
                  <a:pt x="1274151" y="2176227"/>
                  <a:pt x="1333504" y="2235577"/>
                  <a:pt x="1333504" y="2308480"/>
                </a:cubicBezTo>
                <a:cubicBezTo>
                  <a:pt x="1333504" y="2381376"/>
                  <a:pt x="1274151" y="2440726"/>
                  <a:pt x="1201250" y="2440726"/>
                </a:cubicBezTo>
                <a:cubicBezTo>
                  <a:pt x="1128349" y="2440726"/>
                  <a:pt x="1068997" y="2382023"/>
                  <a:pt x="1068997" y="2308480"/>
                </a:cubicBezTo>
                <a:cubicBezTo>
                  <a:pt x="1068997" y="2235577"/>
                  <a:pt x="1128349" y="2176227"/>
                  <a:pt x="1201250" y="2176227"/>
                </a:cubicBezTo>
                <a:close/>
                <a:moveTo>
                  <a:pt x="1773490" y="2088481"/>
                </a:moveTo>
                <a:cubicBezTo>
                  <a:pt x="1864456" y="2088481"/>
                  <a:pt x="1942719" y="2144006"/>
                  <a:pt x="1976166" y="2222936"/>
                </a:cubicBezTo>
                <a:lnTo>
                  <a:pt x="1987399" y="2278426"/>
                </a:lnTo>
                <a:lnTo>
                  <a:pt x="1985740" y="2294891"/>
                </a:lnTo>
                <a:lnTo>
                  <a:pt x="1989817" y="2326586"/>
                </a:lnTo>
                <a:lnTo>
                  <a:pt x="1976166" y="2394018"/>
                </a:lnTo>
                <a:cubicBezTo>
                  <a:pt x="1942719" y="2472946"/>
                  <a:pt x="1864456" y="2528464"/>
                  <a:pt x="1773490" y="2528464"/>
                </a:cubicBezTo>
                <a:cubicBezTo>
                  <a:pt x="1652204" y="2528464"/>
                  <a:pt x="1553498" y="2430406"/>
                  <a:pt x="1553498" y="2308473"/>
                </a:cubicBezTo>
                <a:cubicBezTo>
                  <a:pt x="1553498" y="2187186"/>
                  <a:pt x="1652204" y="2088481"/>
                  <a:pt x="1773490" y="2088481"/>
                </a:cubicBezTo>
                <a:close/>
                <a:moveTo>
                  <a:pt x="629011" y="1688493"/>
                </a:moveTo>
                <a:cubicBezTo>
                  <a:pt x="655462" y="1688493"/>
                  <a:pt x="676752" y="1709783"/>
                  <a:pt x="676752" y="1736234"/>
                </a:cubicBezTo>
                <a:cubicBezTo>
                  <a:pt x="676752" y="1762684"/>
                  <a:pt x="655462" y="1783975"/>
                  <a:pt x="629011" y="1783975"/>
                </a:cubicBezTo>
                <a:cubicBezTo>
                  <a:pt x="602561" y="1783975"/>
                  <a:pt x="581271" y="1762684"/>
                  <a:pt x="581271" y="1736234"/>
                </a:cubicBezTo>
                <a:cubicBezTo>
                  <a:pt x="581271" y="1709783"/>
                  <a:pt x="602561" y="1688493"/>
                  <a:pt x="629011" y="1688493"/>
                </a:cubicBezTo>
                <a:close/>
                <a:moveTo>
                  <a:pt x="1201250" y="1639465"/>
                </a:moveTo>
                <a:cubicBezTo>
                  <a:pt x="1254798" y="1639465"/>
                  <a:pt x="1298022" y="1682692"/>
                  <a:pt x="1298022" y="1736237"/>
                </a:cubicBezTo>
                <a:cubicBezTo>
                  <a:pt x="1298022" y="1789784"/>
                  <a:pt x="1254798" y="1833008"/>
                  <a:pt x="1201250" y="1833008"/>
                </a:cubicBezTo>
                <a:cubicBezTo>
                  <a:pt x="1147704" y="1833008"/>
                  <a:pt x="1104480" y="1789784"/>
                  <a:pt x="1104480" y="1736237"/>
                </a:cubicBezTo>
                <a:cubicBezTo>
                  <a:pt x="1104480" y="1682692"/>
                  <a:pt x="1147704" y="1639465"/>
                  <a:pt x="1201250" y="1639465"/>
                </a:cubicBezTo>
                <a:close/>
                <a:moveTo>
                  <a:pt x="1741933" y="1572389"/>
                </a:moveTo>
                <a:cubicBezTo>
                  <a:pt x="1832555" y="1554938"/>
                  <a:pt x="1920163" y="1614255"/>
                  <a:pt x="1937614" y="1704875"/>
                </a:cubicBezTo>
                <a:cubicBezTo>
                  <a:pt x="1955064" y="1795496"/>
                  <a:pt x="1895749" y="1883105"/>
                  <a:pt x="1805127" y="1900555"/>
                </a:cubicBezTo>
                <a:cubicBezTo>
                  <a:pt x="1714507" y="1918005"/>
                  <a:pt x="1626897" y="1858692"/>
                  <a:pt x="1609447" y="1768068"/>
                </a:cubicBezTo>
                <a:cubicBezTo>
                  <a:pt x="1591996" y="1677449"/>
                  <a:pt x="1651313" y="1589840"/>
                  <a:pt x="1741933" y="1572389"/>
                </a:cubicBezTo>
                <a:close/>
                <a:moveTo>
                  <a:pt x="1189474" y="1102707"/>
                </a:moveTo>
                <a:cubicBezTo>
                  <a:pt x="1223414" y="1096172"/>
                  <a:pt x="1256226" y="1118389"/>
                  <a:pt x="1262761" y="1152327"/>
                </a:cubicBezTo>
                <a:cubicBezTo>
                  <a:pt x="1269297" y="1186266"/>
                  <a:pt x="1247081" y="1219079"/>
                  <a:pt x="1213141" y="1225613"/>
                </a:cubicBezTo>
                <a:cubicBezTo>
                  <a:pt x="1179203" y="1232150"/>
                  <a:pt x="1146392" y="1209934"/>
                  <a:pt x="1139856" y="1175994"/>
                </a:cubicBezTo>
                <a:cubicBezTo>
                  <a:pt x="1133320" y="1142055"/>
                  <a:pt x="1155536" y="1109244"/>
                  <a:pt x="1189474" y="1102707"/>
                </a:cubicBezTo>
                <a:close/>
                <a:moveTo>
                  <a:pt x="1773490" y="1043355"/>
                </a:moveTo>
                <a:cubicBezTo>
                  <a:pt x="1839939" y="1043355"/>
                  <a:pt x="1894132" y="1097545"/>
                  <a:pt x="1894132" y="1163996"/>
                </a:cubicBezTo>
                <a:cubicBezTo>
                  <a:pt x="1894132" y="1230445"/>
                  <a:pt x="1839939" y="1284638"/>
                  <a:pt x="1773490" y="1284638"/>
                </a:cubicBezTo>
                <a:cubicBezTo>
                  <a:pt x="1707040" y="1284638"/>
                  <a:pt x="1652849" y="1230445"/>
                  <a:pt x="1652849" y="1163996"/>
                </a:cubicBezTo>
                <a:cubicBezTo>
                  <a:pt x="1652849" y="1097545"/>
                  <a:pt x="1707040" y="1043355"/>
                  <a:pt x="1773490" y="1043355"/>
                </a:cubicBezTo>
                <a:close/>
                <a:moveTo>
                  <a:pt x="2346375" y="973034"/>
                </a:moveTo>
                <a:cubicBezTo>
                  <a:pt x="2451840" y="973034"/>
                  <a:pt x="2537336" y="1058530"/>
                  <a:pt x="2537336" y="1163996"/>
                </a:cubicBezTo>
                <a:cubicBezTo>
                  <a:pt x="2537336" y="1269461"/>
                  <a:pt x="2451840" y="1354957"/>
                  <a:pt x="2346375" y="1354957"/>
                </a:cubicBezTo>
                <a:cubicBezTo>
                  <a:pt x="2240910" y="1354957"/>
                  <a:pt x="2155413" y="1269461"/>
                  <a:pt x="2155413" y="1163996"/>
                </a:cubicBezTo>
                <a:cubicBezTo>
                  <a:pt x="2155413" y="1058530"/>
                  <a:pt x="2240910" y="973034"/>
                  <a:pt x="2346375" y="973034"/>
                </a:cubicBezTo>
                <a:close/>
                <a:moveTo>
                  <a:pt x="1201251" y="554986"/>
                </a:moveTo>
                <a:cubicBezTo>
                  <a:pt x="1221250" y="554986"/>
                  <a:pt x="1238024" y="571759"/>
                  <a:pt x="1238024" y="591758"/>
                </a:cubicBezTo>
                <a:cubicBezTo>
                  <a:pt x="1238024" y="611758"/>
                  <a:pt x="1221250" y="628531"/>
                  <a:pt x="1201251" y="628531"/>
                </a:cubicBezTo>
                <a:cubicBezTo>
                  <a:pt x="1181252" y="628531"/>
                  <a:pt x="1164478" y="611758"/>
                  <a:pt x="1164478" y="591758"/>
                </a:cubicBezTo>
                <a:cubicBezTo>
                  <a:pt x="1164478" y="571759"/>
                  <a:pt x="1181252" y="554986"/>
                  <a:pt x="1201251" y="554986"/>
                </a:cubicBezTo>
                <a:close/>
                <a:moveTo>
                  <a:pt x="1773490" y="516275"/>
                </a:moveTo>
                <a:cubicBezTo>
                  <a:pt x="1815424" y="516275"/>
                  <a:pt x="1848972" y="549823"/>
                  <a:pt x="1848972" y="591757"/>
                </a:cubicBezTo>
                <a:cubicBezTo>
                  <a:pt x="1848972" y="633690"/>
                  <a:pt x="1815424" y="667238"/>
                  <a:pt x="1773490" y="667238"/>
                </a:cubicBezTo>
                <a:cubicBezTo>
                  <a:pt x="1732201" y="667238"/>
                  <a:pt x="1698009" y="633047"/>
                  <a:pt x="1698009" y="591757"/>
                </a:cubicBezTo>
                <a:cubicBezTo>
                  <a:pt x="1698009" y="549823"/>
                  <a:pt x="1731556" y="516275"/>
                  <a:pt x="1773490" y="516275"/>
                </a:cubicBezTo>
                <a:close/>
                <a:moveTo>
                  <a:pt x="2346375" y="462084"/>
                </a:moveTo>
                <a:cubicBezTo>
                  <a:pt x="2417986" y="462084"/>
                  <a:pt x="2476048" y="520146"/>
                  <a:pt x="2476048" y="591757"/>
                </a:cubicBezTo>
                <a:cubicBezTo>
                  <a:pt x="2476048" y="663367"/>
                  <a:pt x="2417986" y="721429"/>
                  <a:pt x="2346375" y="721429"/>
                </a:cubicBezTo>
                <a:cubicBezTo>
                  <a:pt x="2274764" y="721429"/>
                  <a:pt x="2216057" y="663367"/>
                  <a:pt x="2216701" y="591757"/>
                </a:cubicBezTo>
                <a:cubicBezTo>
                  <a:pt x="2216701" y="520146"/>
                  <a:pt x="2274764" y="462084"/>
                  <a:pt x="2346375" y="462084"/>
                </a:cubicBezTo>
                <a:close/>
                <a:moveTo>
                  <a:pt x="2918615" y="395638"/>
                </a:moveTo>
                <a:cubicBezTo>
                  <a:pt x="3026353" y="395638"/>
                  <a:pt x="3114093" y="483377"/>
                  <a:pt x="3114093" y="591115"/>
                </a:cubicBezTo>
                <a:cubicBezTo>
                  <a:pt x="3114093" y="698853"/>
                  <a:pt x="3026353" y="786593"/>
                  <a:pt x="2918615" y="786593"/>
                </a:cubicBezTo>
                <a:cubicBezTo>
                  <a:pt x="2810876" y="786593"/>
                  <a:pt x="2723138" y="699498"/>
                  <a:pt x="2723138" y="591115"/>
                </a:cubicBezTo>
                <a:cubicBezTo>
                  <a:pt x="2723138" y="483377"/>
                  <a:pt x="2810876" y="395638"/>
                  <a:pt x="2918615" y="395638"/>
                </a:cubicBezTo>
                <a:close/>
                <a:moveTo>
                  <a:pt x="4310583" y="0"/>
                </a:moveTo>
                <a:lnTo>
                  <a:pt x="6616265" y="0"/>
                </a:lnTo>
                <a:lnTo>
                  <a:pt x="6616265" y="6843715"/>
                </a:lnTo>
                <a:lnTo>
                  <a:pt x="1487341" y="6843715"/>
                </a:lnTo>
                <a:lnTo>
                  <a:pt x="1496539" y="6801672"/>
                </a:lnTo>
                <a:cubicBezTo>
                  <a:pt x="1527560" y="6703935"/>
                  <a:pt x="1618657" y="6632808"/>
                  <a:pt x="1727039" y="6632808"/>
                </a:cubicBezTo>
                <a:cubicBezTo>
                  <a:pt x="1847035" y="6632808"/>
                  <a:pt x="1946387" y="6719902"/>
                  <a:pt x="1965741" y="6834092"/>
                </a:cubicBezTo>
                <a:cubicBezTo>
                  <a:pt x="1976709" y="6743773"/>
                  <a:pt x="2023158" y="6665065"/>
                  <a:pt x="2090255" y="6611519"/>
                </a:cubicBezTo>
                <a:cubicBezTo>
                  <a:pt x="2034126" y="6573455"/>
                  <a:pt x="1988966" y="6521200"/>
                  <a:pt x="1960580" y="6459266"/>
                </a:cubicBezTo>
                <a:cubicBezTo>
                  <a:pt x="1910259" y="6534102"/>
                  <a:pt x="1824455" y="6583778"/>
                  <a:pt x="1727039" y="6583778"/>
                </a:cubicBezTo>
                <a:cubicBezTo>
                  <a:pt x="1571560" y="6583778"/>
                  <a:pt x="1445758" y="6457976"/>
                  <a:pt x="1445758" y="6302497"/>
                </a:cubicBezTo>
                <a:cubicBezTo>
                  <a:pt x="1445758" y="6170244"/>
                  <a:pt x="1536078" y="6059924"/>
                  <a:pt x="1658654" y="6029603"/>
                </a:cubicBezTo>
                <a:cubicBezTo>
                  <a:pt x="1521884" y="5997991"/>
                  <a:pt x="1419307" y="5876060"/>
                  <a:pt x="1419307" y="5729612"/>
                </a:cubicBezTo>
                <a:cubicBezTo>
                  <a:pt x="1419307" y="5606391"/>
                  <a:pt x="1492853" y="5499943"/>
                  <a:pt x="1598012" y="5450912"/>
                </a:cubicBezTo>
                <a:cubicBezTo>
                  <a:pt x="1513337" y="5413655"/>
                  <a:pt x="1447894" y="5340835"/>
                  <a:pt x="1420467" y="5251503"/>
                </a:cubicBezTo>
                <a:lnTo>
                  <a:pt x="1412511" y="5198249"/>
                </a:lnTo>
                <a:lnTo>
                  <a:pt x="1418018" y="5170959"/>
                </a:lnTo>
                <a:lnTo>
                  <a:pt x="1410074" y="5131470"/>
                </a:lnTo>
                <a:lnTo>
                  <a:pt x="1419106" y="5067729"/>
                </a:lnTo>
                <a:cubicBezTo>
                  <a:pt x="1443902" y="4982420"/>
                  <a:pt x="1503175" y="4911898"/>
                  <a:pt x="1580592" y="4872221"/>
                </a:cubicBezTo>
                <a:cubicBezTo>
                  <a:pt x="1502208" y="4832546"/>
                  <a:pt x="1442330" y="4761298"/>
                  <a:pt x="1417291" y="4675353"/>
                </a:cubicBezTo>
                <a:lnTo>
                  <a:pt x="1411993" y="4638076"/>
                </a:lnTo>
                <a:lnTo>
                  <a:pt x="1419954" y="4598720"/>
                </a:lnTo>
                <a:lnTo>
                  <a:pt x="1409763" y="4548338"/>
                </a:lnTo>
                <a:lnTo>
                  <a:pt x="1417623" y="4493696"/>
                </a:lnTo>
                <a:cubicBezTo>
                  <a:pt x="1443297" y="4406753"/>
                  <a:pt x="1504626" y="4335143"/>
                  <a:pt x="1584463" y="4295466"/>
                </a:cubicBezTo>
                <a:cubicBezTo>
                  <a:pt x="1507047" y="4256273"/>
                  <a:pt x="1447775" y="4186235"/>
                  <a:pt x="1422978" y="4101409"/>
                </a:cubicBezTo>
                <a:lnTo>
                  <a:pt x="1412759" y="4029675"/>
                </a:lnTo>
                <a:lnTo>
                  <a:pt x="1412855" y="4028809"/>
                </a:lnTo>
                <a:lnTo>
                  <a:pt x="1410785" y="4005809"/>
                </a:lnTo>
                <a:lnTo>
                  <a:pt x="1414258" y="3961788"/>
                </a:lnTo>
                <a:cubicBezTo>
                  <a:pt x="1432604" y="3846780"/>
                  <a:pt x="1512692" y="3752580"/>
                  <a:pt x="1619945" y="3714195"/>
                </a:cubicBezTo>
                <a:cubicBezTo>
                  <a:pt x="1510272" y="3670971"/>
                  <a:pt x="1432210" y="3564522"/>
                  <a:pt x="1432210" y="3440010"/>
                </a:cubicBezTo>
                <a:cubicBezTo>
                  <a:pt x="1432210" y="3276790"/>
                  <a:pt x="1564463" y="3145181"/>
                  <a:pt x="1727039" y="3145181"/>
                </a:cubicBezTo>
                <a:cubicBezTo>
                  <a:pt x="1821230" y="3145181"/>
                  <a:pt x="1905097" y="3189695"/>
                  <a:pt x="1959290" y="3259371"/>
                </a:cubicBezTo>
                <a:cubicBezTo>
                  <a:pt x="1985740" y="3210340"/>
                  <a:pt x="2022513" y="3167116"/>
                  <a:pt x="2066382" y="3133569"/>
                </a:cubicBezTo>
                <a:cubicBezTo>
                  <a:pt x="2019932" y="3092925"/>
                  <a:pt x="1983805" y="3040023"/>
                  <a:pt x="1963805" y="2980026"/>
                </a:cubicBezTo>
                <a:cubicBezTo>
                  <a:pt x="1921226" y="3068409"/>
                  <a:pt x="1830907" y="3129697"/>
                  <a:pt x="1726393" y="3129697"/>
                </a:cubicBezTo>
                <a:cubicBezTo>
                  <a:pt x="1581237" y="3129697"/>
                  <a:pt x="1463822" y="3012282"/>
                  <a:pt x="1463822" y="2867126"/>
                </a:cubicBezTo>
                <a:cubicBezTo>
                  <a:pt x="1463822" y="2721969"/>
                  <a:pt x="1581237" y="2604554"/>
                  <a:pt x="1726393" y="2604554"/>
                </a:cubicBezTo>
                <a:cubicBezTo>
                  <a:pt x="1831551" y="2604554"/>
                  <a:pt x="1921871" y="2665843"/>
                  <a:pt x="1963805" y="2754227"/>
                </a:cubicBezTo>
                <a:cubicBezTo>
                  <a:pt x="1992191" y="2670358"/>
                  <a:pt x="2051544" y="2600038"/>
                  <a:pt x="2128316" y="2557458"/>
                </a:cubicBezTo>
                <a:cubicBezTo>
                  <a:pt x="2063964" y="2515365"/>
                  <a:pt x="2015941" y="2450406"/>
                  <a:pt x="1995952" y="2374289"/>
                </a:cubicBezTo>
                <a:lnTo>
                  <a:pt x="1989817" y="2326586"/>
                </a:lnTo>
                <a:lnTo>
                  <a:pt x="1993483" y="2308473"/>
                </a:lnTo>
                <a:lnTo>
                  <a:pt x="1987399" y="2278426"/>
                </a:lnTo>
                <a:lnTo>
                  <a:pt x="1992121" y="2231592"/>
                </a:lnTo>
                <a:cubicBezTo>
                  <a:pt x="2021404" y="2088536"/>
                  <a:pt x="2147992" y="1981352"/>
                  <a:pt x="2299279" y="1981352"/>
                </a:cubicBezTo>
                <a:cubicBezTo>
                  <a:pt x="2395404" y="1981352"/>
                  <a:pt x="2481208" y="2024578"/>
                  <a:pt x="2538627" y="2092962"/>
                </a:cubicBezTo>
                <a:cubicBezTo>
                  <a:pt x="2566368" y="2047155"/>
                  <a:pt x="2603785" y="2007158"/>
                  <a:pt x="2647655" y="1976190"/>
                </a:cubicBezTo>
                <a:cubicBezTo>
                  <a:pt x="2596689" y="1931031"/>
                  <a:pt x="2559270" y="1871032"/>
                  <a:pt x="2542497" y="1803293"/>
                </a:cubicBezTo>
                <a:cubicBezTo>
                  <a:pt x="2508305" y="1905871"/>
                  <a:pt x="2412178" y="1979417"/>
                  <a:pt x="2298633" y="1979417"/>
                </a:cubicBezTo>
                <a:cubicBezTo>
                  <a:pt x="2156057" y="1979417"/>
                  <a:pt x="2041223" y="1863936"/>
                  <a:pt x="2041223" y="1722003"/>
                </a:cubicBezTo>
                <a:cubicBezTo>
                  <a:pt x="2041223" y="1579429"/>
                  <a:pt x="2156703" y="1464593"/>
                  <a:pt x="2298633" y="1464593"/>
                </a:cubicBezTo>
                <a:cubicBezTo>
                  <a:pt x="2412178" y="1464593"/>
                  <a:pt x="2508305" y="1538784"/>
                  <a:pt x="2542497" y="1640718"/>
                </a:cubicBezTo>
                <a:cubicBezTo>
                  <a:pt x="2570240" y="1529109"/>
                  <a:pt x="2652816" y="1439433"/>
                  <a:pt x="2760555" y="1402016"/>
                </a:cubicBezTo>
                <a:cubicBezTo>
                  <a:pt x="2663138" y="1358789"/>
                  <a:pt x="2595400" y="1262019"/>
                  <a:pt x="2595400" y="1149118"/>
                </a:cubicBezTo>
                <a:cubicBezTo>
                  <a:pt x="2595400" y="996221"/>
                  <a:pt x="2719265" y="872997"/>
                  <a:pt x="2871517" y="872997"/>
                </a:cubicBezTo>
                <a:cubicBezTo>
                  <a:pt x="2983773" y="872997"/>
                  <a:pt x="3079897" y="939449"/>
                  <a:pt x="3123123" y="1035574"/>
                </a:cubicBezTo>
                <a:cubicBezTo>
                  <a:pt x="3159251" y="932997"/>
                  <a:pt x="3243119" y="853000"/>
                  <a:pt x="3348277" y="822035"/>
                </a:cubicBezTo>
                <a:cubicBezTo>
                  <a:pt x="3249571" y="783327"/>
                  <a:pt x="3179895" y="688491"/>
                  <a:pt x="3179895" y="576235"/>
                </a:cubicBezTo>
                <a:cubicBezTo>
                  <a:pt x="3179895" y="430434"/>
                  <a:pt x="3297955" y="312373"/>
                  <a:pt x="3443757" y="312373"/>
                </a:cubicBezTo>
                <a:cubicBezTo>
                  <a:pt x="3567623" y="312373"/>
                  <a:pt x="3672137" y="398822"/>
                  <a:pt x="3699877" y="514303"/>
                </a:cubicBezTo>
                <a:cubicBezTo>
                  <a:pt x="3728909" y="365921"/>
                  <a:pt x="3859227" y="254311"/>
                  <a:pt x="4015997" y="254311"/>
                </a:cubicBezTo>
                <a:cubicBezTo>
                  <a:pt x="4122445" y="254311"/>
                  <a:pt x="4216635" y="305923"/>
                  <a:pt x="4275343" y="385274"/>
                </a:cubicBezTo>
                <a:cubicBezTo>
                  <a:pt x="4314051" y="321405"/>
                  <a:pt x="4372759" y="270440"/>
                  <a:pt x="4441789" y="240118"/>
                </a:cubicBezTo>
                <a:cubicBezTo>
                  <a:pt x="4363083" y="191087"/>
                  <a:pt x="4310179" y="103993"/>
                  <a:pt x="4310179" y="3997"/>
                </a:cubicBezTo>
                <a:close/>
                <a:moveTo>
                  <a:pt x="3836709" y="0"/>
                </a:moveTo>
                <a:lnTo>
                  <a:pt x="4290765" y="0"/>
                </a:lnTo>
                <a:lnTo>
                  <a:pt x="4294697" y="19521"/>
                </a:lnTo>
                <a:cubicBezTo>
                  <a:pt x="4294697" y="147259"/>
                  <a:pt x="4191476" y="250481"/>
                  <a:pt x="4063739" y="250481"/>
                </a:cubicBezTo>
                <a:cubicBezTo>
                  <a:pt x="3935999" y="250481"/>
                  <a:pt x="3832133" y="146614"/>
                  <a:pt x="3832777" y="19521"/>
                </a:cubicBezTo>
                <a:close/>
                <a:moveTo>
                  <a:pt x="3315961" y="0"/>
                </a:moveTo>
                <a:lnTo>
                  <a:pt x="3665747" y="0"/>
                </a:lnTo>
                <a:lnTo>
                  <a:pt x="3669557" y="18877"/>
                </a:lnTo>
                <a:cubicBezTo>
                  <a:pt x="3669557" y="117572"/>
                  <a:pt x="3589549" y="197580"/>
                  <a:pt x="3490853" y="197580"/>
                </a:cubicBezTo>
                <a:cubicBezTo>
                  <a:pt x="3392157" y="197580"/>
                  <a:pt x="3312149" y="117572"/>
                  <a:pt x="3312149" y="18877"/>
                </a:cubicBezTo>
                <a:close/>
                <a:moveTo>
                  <a:pt x="2797407" y="0"/>
                </a:moveTo>
                <a:lnTo>
                  <a:pt x="3039823" y="0"/>
                </a:lnTo>
                <a:lnTo>
                  <a:pt x="3043771" y="19521"/>
                </a:lnTo>
                <a:cubicBezTo>
                  <a:pt x="3043771" y="88551"/>
                  <a:pt x="2987643" y="144678"/>
                  <a:pt x="2918615" y="144678"/>
                </a:cubicBezTo>
                <a:cubicBezTo>
                  <a:pt x="2849583" y="144678"/>
                  <a:pt x="2793457" y="88551"/>
                  <a:pt x="2793457" y="19521"/>
                </a:cubicBezTo>
                <a:close/>
                <a:moveTo>
                  <a:pt x="2274893" y="0"/>
                </a:moveTo>
                <a:lnTo>
                  <a:pt x="2417855" y="0"/>
                </a:lnTo>
                <a:lnTo>
                  <a:pt x="2421856" y="19518"/>
                </a:lnTo>
                <a:cubicBezTo>
                  <a:pt x="2421856" y="60807"/>
                  <a:pt x="2388308" y="94999"/>
                  <a:pt x="2346375" y="94999"/>
                </a:cubicBezTo>
                <a:cubicBezTo>
                  <a:pt x="2304440" y="94999"/>
                  <a:pt x="2270893" y="60807"/>
                  <a:pt x="2270893" y="19518"/>
                </a:cubicBezTo>
                <a:close/>
                <a:moveTo>
                  <a:pt x="1740884" y="0"/>
                </a:moveTo>
                <a:lnTo>
                  <a:pt x="1806098" y="0"/>
                </a:lnTo>
                <a:lnTo>
                  <a:pt x="1814136" y="19519"/>
                </a:lnTo>
                <a:cubicBezTo>
                  <a:pt x="1814136" y="42100"/>
                  <a:pt x="1796071" y="60163"/>
                  <a:pt x="1773490" y="60163"/>
                </a:cubicBezTo>
                <a:cubicBezTo>
                  <a:pt x="1750911" y="60163"/>
                  <a:pt x="1732847" y="41455"/>
                  <a:pt x="1732847" y="19519"/>
                </a:cubicBezTo>
                <a:close/>
              </a:path>
            </a:pathLst>
          </a:custGeom>
          <a:noFill/>
        </p:spPr>
      </p:pic>
    </p:spTree>
    <p:custDataLst>
      <p:custData r:id="rId1"/>
      <p:custData r:id="rId2"/>
    </p:custDataLst>
    <p:extLst>
      <p:ext uri="{BB962C8B-B14F-4D97-AF65-F5344CB8AC3E}">
        <p14:creationId xmlns:p14="http://schemas.microsoft.com/office/powerpoint/2010/main" val="275545708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6E66EE26-2E0D-44E7-A0FD-9D7C25304C70}"/>
              </a:ext>
            </a:extLst>
          </p:cNvPr>
          <p:cNvSpPr>
            <a:spLocks noGrp="1"/>
          </p:cNvSpPr>
          <p:nvPr>
            <p:ph type="sldNum" sz="quarter" idx="12"/>
          </p:nvPr>
        </p:nvSpPr>
        <p:spPr/>
        <p:txBody>
          <a:bodyPr/>
          <a:lstStyle/>
          <a:p>
            <a:fld id="{9E2BE927-25C7-4379-86F1-C17ED9D2A7F2}" type="slidenum">
              <a:rPr lang="en-US" smtClean="0"/>
              <a:pPr/>
              <a:t>4</a:t>
            </a:fld>
            <a:endParaRPr lang="en-US"/>
          </a:p>
        </p:txBody>
      </p:sp>
      <p:sp>
        <p:nvSpPr>
          <p:cNvPr id="15" name="Rectangle 85">
            <a:extLst>
              <a:ext uri="{FF2B5EF4-FFF2-40B4-BE49-F238E27FC236}">
                <a16:creationId xmlns:a16="http://schemas.microsoft.com/office/drawing/2014/main" id="{F115EB52-E14F-4777-8906-533840671031}"/>
              </a:ext>
            </a:extLst>
          </p:cNvPr>
          <p:cNvSpPr>
            <a:spLocks noChangeAspect="1"/>
          </p:cNvSpPr>
          <p:nvPr/>
        </p:nvSpPr>
        <p:spPr>
          <a:xfrm>
            <a:off x="257630" y="1161740"/>
            <a:ext cx="822960" cy="766575"/>
          </a:xfrm>
          <a:custGeom>
            <a:avLst/>
            <a:gdLst/>
            <a:ahLst/>
            <a:cxnLst/>
            <a:rect l="l" t="t" r="r" b="b"/>
            <a:pathLst>
              <a:path w="720080" h="720080">
                <a:moveTo>
                  <a:pt x="327386" y="329590"/>
                </a:moveTo>
                <a:lnTo>
                  <a:pt x="392694" y="329590"/>
                </a:lnTo>
                <a:lnTo>
                  <a:pt x="392694" y="386202"/>
                </a:lnTo>
                <a:lnTo>
                  <a:pt x="449306" y="386202"/>
                </a:lnTo>
                <a:lnTo>
                  <a:pt x="449306" y="451445"/>
                </a:lnTo>
                <a:lnTo>
                  <a:pt x="392694" y="451445"/>
                </a:lnTo>
                <a:lnTo>
                  <a:pt x="392694" y="508057"/>
                </a:lnTo>
                <a:lnTo>
                  <a:pt x="327386" y="508057"/>
                </a:lnTo>
                <a:lnTo>
                  <a:pt x="327386" y="451445"/>
                </a:lnTo>
                <a:lnTo>
                  <a:pt x="270774" y="451445"/>
                </a:lnTo>
                <a:lnTo>
                  <a:pt x="270774" y="386202"/>
                </a:lnTo>
                <a:lnTo>
                  <a:pt x="327386" y="386202"/>
                </a:lnTo>
                <a:close/>
                <a:moveTo>
                  <a:pt x="296104" y="177128"/>
                </a:moveTo>
                <a:lnTo>
                  <a:pt x="424057" y="177128"/>
                </a:lnTo>
                <a:lnTo>
                  <a:pt x="424057" y="236939"/>
                </a:lnTo>
                <a:lnTo>
                  <a:pt x="296104" y="236939"/>
                </a:lnTo>
                <a:close/>
                <a:moveTo>
                  <a:pt x="262913" y="143937"/>
                </a:moveTo>
                <a:lnTo>
                  <a:pt x="262913" y="238764"/>
                </a:lnTo>
                <a:lnTo>
                  <a:pt x="136088" y="238764"/>
                </a:lnTo>
                <a:cubicBezTo>
                  <a:pt x="120582" y="238764"/>
                  <a:pt x="108012" y="251334"/>
                  <a:pt x="108012" y="266840"/>
                </a:cubicBezTo>
                <a:lnTo>
                  <a:pt x="108012" y="570728"/>
                </a:lnTo>
                <a:cubicBezTo>
                  <a:pt x="108012" y="586234"/>
                  <a:pt x="120582" y="598804"/>
                  <a:pt x="136088" y="598804"/>
                </a:cubicBezTo>
                <a:lnTo>
                  <a:pt x="583992" y="598804"/>
                </a:lnTo>
                <a:cubicBezTo>
                  <a:pt x="599498" y="598804"/>
                  <a:pt x="612068" y="586234"/>
                  <a:pt x="612068" y="570728"/>
                </a:cubicBezTo>
                <a:lnTo>
                  <a:pt x="612068" y="266840"/>
                </a:lnTo>
                <a:cubicBezTo>
                  <a:pt x="612068" y="251334"/>
                  <a:pt x="599498" y="238764"/>
                  <a:pt x="583992" y="238764"/>
                </a:cubicBezTo>
                <a:lnTo>
                  <a:pt x="457248" y="238764"/>
                </a:lnTo>
                <a:lnTo>
                  <a:pt x="457248" y="143937"/>
                </a:lnTo>
                <a:close/>
                <a:moveTo>
                  <a:pt x="19730" y="0"/>
                </a:moveTo>
                <a:lnTo>
                  <a:pt x="700350" y="0"/>
                </a:lnTo>
                <a:cubicBezTo>
                  <a:pt x="711247" y="0"/>
                  <a:pt x="720080" y="8833"/>
                  <a:pt x="720080" y="19730"/>
                </a:cubicBezTo>
                <a:lnTo>
                  <a:pt x="720080" y="700350"/>
                </a:lnTo>
                <a:cubicBezTo>
                  <a:pt x="720080" y="711247"/>
                  <a:pt x="711247" y="720080"/>
                  <a:pt x="700350" y="720080"/>
                </a:cubicBezTo>
                <a:lnTo>
                  <a:pt x="19730" y="720080"/>
                </a:lnTo>
                <a:cubicBezTo>
                  <a:pt x="8833" y="720080"/>
                  <a:pt x="0" y="711247"/>
                  <a:pt x="0" y="700350"/>
                </a:cubicBezTo>
                <a:lnTo>
                  <a:pt x="0" y="19730"/>
                </a:lnTo>
                <a:cubicBezTo>
                  <a:pt x="0" y="8833"/>
                  <a:pt x="8833" y="0"/>
                  <a:pt x="19730" y="0"/>
                </a:cubicBezTo>
                <a:close/>
              </a:path>
            </a:pathLst>
          </a:cu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Content Placeholder 2">
            <a:extLst>
              <a:ext uri="{FF2B5EF4-FFF2-40B4-BE49-F238E27FC236}">
                <a16:creationId xmlns:a16="http://schemas.microsoft.com/office/drawing/2014/main" id="{224D65A2-8691-72E4-E896-117079F83A74}"/>
              </a:ext>
            </a:extLst>
          </p:cNvPr>
          <p:cNvSpPr txBox="1">
            <a:spLocks/>
          </p:cNvSpPr>
          <p:nvPr/>
        </p:nvSpPr>
        <p:spPr>
          <a:xfrm>
            <a:off x="257628" y="370035"/>
            <a:ext cx="5592671" cy="365126"/>
          </a:xfrm>
          <a:prstGeom prst="rect">
            <a:avLst/>
          </a:prstGeom>
          <a:ln>
            <a:noFill/>
          </a:ln>
        </p:spPr>
        <p:txBody>
          <a:bodyPr/>
          <a:lstStyle>
            <a:lvl1pPr marL="180000" indent="-1800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j-lt"/>
                <a:ea typeface="+mn-ea"/>
                <a:cs typeface="+mn-cs"/>
              </a:defRPr>
            </a:lvl1pPr>
            <a:lvl2pPr marL="180975" indent="-180975"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2pPr>
            <a:lvl3pPr marL="361950" indent="-180975"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542925" indent="-180975"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714375" indent="-17145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714375" indent="-171450" algn="l" defTabSz="914400" rtl="0" eaLnBrk="1" latinLnBrk="0" hangingPunct="1">
              <a:lnSpc>
                <a:spcPct val="90000"/>
              </a:lnSpc>
              <a:spcBef>
                <a:spcPts val="500"/>
              </a:spcBef>
              <a:buFont typeface="Arial" panose="020B0604020202020204" pitchFamily="34" charset="0"/>
              <a:buChar char="•"/>
              <a:tabLst/>
              <a:defRPr sz="1400" kern="1200">
                <a:solidFill>
                  <a:schemeClr val="tx1"/>
                </a:solidFill>
                <a:latin typeface="+mn-lt"/>
                <a:ea typeface="+mn-ea"/>
                <a:cs typeface="+mn-cs"/>
              </a:defRPr>
            </a:lvl6pPr>
            <a:lvl7pPr marL="714375" indent="-171450" algn="l" defTabSz="914400" rtl="0" eaLnBrk="1" latinLnBrk="0" hangingPunct="1">
              <a:lnSpc>
                <a:spcPct val="90000"/>
              </a:lnSpc>
              <a:spcBef>
                <a:spcPts val="500"/>
              </a:spcBef>
              <a:buFont typeface="Arial" panose="020B0604020202020204" pitchFamily="34" charset="0"/>
              <a:buChar char="•"/>
              <a:tabLst/>
              <a:defRPr sz="1400" kern="1200">
                <a:solidFill>
                  <a:schemeClr val="tx1"/>
                </a:solidFill>
                <a:latin typeface="+mn-lt"/>
                <a:ea typeface="+mn-ea"/>
                <a:cs typeface="+mn-cs"/>
              </a:defRPr>
            </a:lvl7pPr>
            <a:lvl8pPr marL="714375" indent="-171450" algn="l" defTabSz="914400" rtl="0" eaLnBrk="1" latinLnBrk="0" hangingPunct="1">
              <a:lnSpc>
                <a:spcPct val="90000"/>
              </a:lnSpc>
              <a:spcBef>
                <a:spcPts val="500"/>
              </a:spcBef>
              <a:buFont typeface="Arial" panose="020B0604020202020204" pitchFamily="34" charset="0"/>
              <a:buChar char="•"/>
              <a:tabLst/>
              <a:defRPr sz="1400" kern="1200">
                <a:solidFill>
                  <a:schemeClr val="tx1"/>
                </a:solidFill>
                <a:latin typeface="+mn-lt"/>
                <a:ea typeface="+mn-ea"/>
                <a:cs typeface="+mn-cs"/>
              </a:defRPr>
            </a:lvl8pPr>
            <a:lvl9pPr marL="714375" indent="-171450" algn="l" defTabSz="914400" rtl="0" eaLnBrk="1" latinLnBrk="0" hangingPunct="1">
              <a:lnSpc>
                <a:spcPct val="90000"/>
              </a:lnSpc>
              <a:spcBef>
                <a:spcPts val="500"/>
              </a:spcBef>
              <a:buFont typeface="Arial" panose="020B0604020202020204" pitchFamily="34" charset="0"/>
              <a:buChar char="•"/>
              <a:tabLst/>
              <a:defRPr sz="1400" kern="1200">
                <a:solidFill>
                  <a:schemeClr val="tx1"/>
                </a:solidFill>
                <a:latin typeface="+mn-lt"/>
                <a:ea typeface="+mn-ea"/>
                <a:cs typeface="+mn-cs"/>
              </a:defRPr>
            </a:lvl9pPr>
          </a:lstStyle>
          <a:p>
            <a:pPr marL="0" indent="0">
              <a:buNone/>
            </a:pPr>
            <a:r>
              <a:rPr lang="en-US" sz="3200"/>
              <a:t>Audit Objectives</a:t>
            </a:r>
          </a:p>
        </p:txBody>
      </p:sp>
      <p:sp>
        <p:nvSpPr>
          <p:cNvPr id="25" name="Content Placeholder 2">
            <a:extLst>
              <a:ext uri="{FF2B5EF4-FFF2-40B4-BE49-F238E27FC236}">
                <a16:creationId xmlns:a16="http://schemas.microsoft.com/office/drawing/2014/main" id="{41AB01CD-C423-A528-90C3-CAE37809F816}"/>
              </a:ext>
            </a:extLst>
          </p:cNvPr>
          <p:cNvSpPr txBox="1">
            <a:spLocks/>
          </p:cNvSpPr>
          <p:nvPr/>
        </p:nvSpPr>
        <p:spPr>
          <a:xfrm>
            <a:off x="6239329" y="401587"/>
            <a:ext cx="5592671" cy="365126"/>
          </a:xfrm>
          <a:prstGeom prst="rect">
            <a:avLst/>
          </a:prstGeom>
          <a:ln>
            <a:noFill/>
          </a:ln>
        </p:spPr>
        <p:txBody>
          <a:bodyPr/>
          <a:lstStyle>
            <a:lvl1pPr marL="180000" indent="-1800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j-lt"/>
                <a:ea typeface="+mn-ea"/>
                <a:cs typeface="+mn-cs"/>
              </a:defRPr>
            </a:lvl1pPr>
            <a:lvl2pPr marL="180975" indent="-180975"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2pPr>
            <a:lvl3pPr marL="361950" indent="-180975"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542925" indent="-180975"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714375" indent="-17145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714375" indent="-171450" algn="l" defTabSz="914400" rtl="0" eaLnBrk="1" latinLnBrk="0" hangingPunct="1">
              <a:lnSpc>
                <a:spcPct val="90000"/>
              </a:lnSpc>
              <a:spcBef>
                <a:spcPts val="500"/>
              </a:spcBef>
              <a:buFont typeface="Arial" panose="020B0604020202020204" pitchFamily="34" charset="0"/>
              <a:buChar char="•"/>
              <a:tabLst/>
              <a:defRPr sz="1400" kern="1200">
                <a:solidFill>
                  <a:schemeClr val="tx1"/>
                </a:solidFill>
                <a:latin typeface="+mn-lt"/>
                <a:ea typeface="+mn-ea"/>
                <a:cs typeface="+mn-cs"/>
              </a:defRPr>
            </a:lvl6pPr>
            <a:lvl7pPr marL="714375" indent="-171450" algn="l" defTabSz="914400" rtl="0" eaLnBrk="1" latinLnBrk="0" hangingPunct="1">
              <a:lnSpc>
                <a:spcPct val="90000"/>
              </a:lnSpc>
              <a:spcBef>
                <a:spcPts val="500"/>
              </a:spcBef>
              <a:buFont typeface="Arial" panose="020B0604020202020204" pitchFamily="34" charset="0"/>
              <a:buChar char="•"/>
              <a:tabLst/>
              <a:defRPr sz="1400" kern="1200">
                <a:solidFill>
                  <a:schemeClr val="tx1"/>
                </a:solidFill>
                <a:latin typeface="+mn-lt"/>
                <a:ea typeface="+mn-ea"/>
                <a:cs typeface="+mn-cs"/>
              </a:defRPr>
            </a:lvl7pPr>
            <a:lvl8pPr marL="714375" indent="-171450" algn="l" defTabSz="914400" rtl="0" eaLnBrk="1" latinLnBrk="0" hangingPunct="1">
              <a:lnSpc>
                <a:spcPct val="90000"/>
              </a:lnSpc>
              <a:spcBef>
                <a:spcPts val="500"/>
              </a:spcBef>
              <a:buFont typeface="Arial" panose="020B0604020202020204" pitchFamily="34" charset="0"/>
              <a:buChar char="•"/>
              <a:tabLst/>
              <a:defRPr sz="1400" kern="1200">
                <a:solidFill>
                  <a:schemeClr val="tx1"/>
                </a:solidFill>
                <a:latin typeface="+mn-lt"/>
                <a:ea typeface="+mn-ea"/>
                <a:cs typeface="+mn-cs"/>
              </a:defRPr>
            </a:lvl8pPr>
            <a:lvl9pPr marL="714375" indent="-171450" algn="l" defTabSz="914400" rtl="0" eaLnBrk="1" latinLnBrk="0" hangingPunct="1">
              <a:lnSpc>
                <a:spcPct val="90000"/>
              </a:lnSpc>
              <a:spcBef>
                <a:spcPts val="500"/>
              </a:spcBef>
              <a:buFont typeface="Arial" panose="020B0604020202020204" pitchFamily="34" charset="0"/>
              <a:buChar char="•"/>
              <a:tabLst/>
              <a:defRPr sz="1400" kern="1200">
                <a:solidFill>
                  <a:schemeClr val="tx1"/>
                </a:solidFill>
                <a:latin typeface="+mn-lt"/>
                <a:ea typeface="+mn-ea"/>
                <a:cs typeface="+mn-cs"/>
              </a:defRPr>
            </a:lvl9pPr>
          </a:lstStyle>
          <a:p>
            <a:pPr marL="0" indent="0">
              <a:buNone/>
            </a:pPr>
            <a:r>
              <a:rPr lang="en-US" sz="3200"/>
              <a:t>Scope of work</a:t>
            </a:r>
          </a:p>
        </p:txBody>
      </p:sp>
      <p:sp>
        <p:nvSpPr>
          <p:cNvPr id="26" name="TextBox 25">
            <a:extLst>
              <a:ext uri="{FF2B5EF4-FFF2-40B4-BE49-F238E27FC236}">
                <a16:creationId xmlns:a16="http://schemas.microsoft.com/office/drawing/2014/main" id="{1078217D-D205-0448-BD48-711DE93690DF}"/>
              </a:ext>
            </a:extLst>
          </p:cNvPr>
          <p:cNvSpPr txBox="1"/>
          <p:nvPr/>
        </p:nvSpPr>
        <p:spPr>
          <a:xfrm>
            <a:off x="1183321" y="1132208"/>
            <a:ext cx="4729109" cy="923330"/>
          </a:xfrm>
          <a:prstGeom prst="rect">
            <a:avLst/>
          </a:prstGeom>
          <a:noFill/>
        </p:spPr>
        <p:txBody>
          <a:bodyPr wrap="square" rtlCol="0">
            <a:spAutoFit/>
          </a:bodyPr>
          <a:lstStyle/>
          <a:p>
            <a:r>
              <a:rPr lang="en-US">
                <a:solidFill>
                  <a:srgbClr val="000000"/>
                </a:solidFill>
                <a:latin typeface="Arial" panose="020B0604020202020204" pitchFamily="34" charset="0"/>
              </a:rPr>
              <a:t>T</a:t>
            </a:r>
            <a:r>
              <a:rPr lang="en-US" sz="1800" b="0" i="0" u="none" strike="noStrike" baseline="0">
                <a:solidFill>
                  <a:srgbClr val="000000"/>
                </a:solidFill>
                <a:latin typeface="Arial" panose="020B0604020202020204" pitchFamily="34" charset="0"/>
              </a:rPr>
              <a:t>he implementation modalities of the </a:t>
            </a:r>
            <a:r>
              <a:rPr lang="en-US" sz="1800" b="1" i="0" u="none" strike="noStrike" baseline="0">
                <a:solidFill>
                  <a:srgbClr val="000000"/>
                </a:solidFill>
                <a:latin typeface="Arial" panose="020B0604020202020204" pitchFamily="34" charset="0"/>
              </a:rPr>
              <a:t>TB and HIV grants to ensure the achievement of grant objectives</a:t>
            </a:r>
            <a:r>
              <a:rPr lang="en-US" sz="1800" b="0" i="0" u="none" strike="noStrike" baseline="0">
                <a:solidFill>
                  <a:srgbClr val="000000"/>
                </a:solidFill>
                <a:latin typeface="Arial" panose="020B0604020202020204" pitchFamily="34" charset="0"/>
              </a:rPr>
              <a:t> </a:t>
            </a:r>
          </a:p>
        </p:txBody>
      </p:sp>
      <p:sp>
        <p:nvSpPr>
          <p:cNvPr id="27" name="TextBox 26">
            <a:extLst>
              <a:ext uri="{FF2B5EF4-FFF2-40B4-BE49-F238E27FC236}">
                <a16:creationId xmlns:a16="http://schemas.microsoft.com/office/drawing/2014/main" id="{86AA997A-C641-9C82-9CD9-087CE80C7294}"/>
              </a:ext>
            </a:extLst>
          </p:cNvPr>
          <p:cNvSpPr txBox="1"/>
          <p:nvPr/>
        </p:nvSpPr>
        <p:spPr>
          <a:xfrm>
            <a:off x="1121189" y="2332809"/>
            <a:ext cx="4729109" cy="1200329"/>
          </a:xfrm>
          <a:prstGeom prst="rect">
            <a:avLst/>
          </a:prstGeom>
          <a:noFill/>
        </p:spPr>
        <p:txBody>
          <a:bodyPr wrap="square" rtlCol="0">
            <a:spAutoFit/>
          </a:bodyPr>
          <a:lstStyle/>
          <a:p>
            <a:r>
              <a:rPr lang="en-US" sz="1800" b="0" i="0" u="none" strike="noStrike" baseline="0">
                <a:solidFill>
                  <a:srgbClr val="000000"/>
                </a:solidFill>
                <a:latin typeface="Arial" panose="020B0604020202020204" pitchFamily="34" charset="0"/>
              </a:rPr>
              <a:t>Effectiveness of grant interventions and approach to implement </a:t>
            </a:r>
            <a:r>
              <a:rPr lang="en-US" sz="1800" b="1" i="0" u="none" strike="noStrike" baseline="0">
                <a:solidFill>
                  <a:srgbClr val="000000"/>
                </a:solidFill>
                <a:latin typeface="Arial" panose="020B0604020202020204" pitchFamily="34" charset="0"/>
              </a:rPr>
              <a:t>sustainable people-centered systems for health to deliver impact</a:t>
            </a:r>
            <a:endParaRPr lang="en-US" sz="1800" b="0" i="0" u="none" strike="noStrike" baseline="0">
              <a:solidFill>
                <a:srgbClr val="000000"/>
              </a:solidFill>
              <a:latin typeface="Arial" panose="020B0604020202020204" pitchFamily="34" charset="0"/>
            </a:endParaRPr>
          </a:p>
        </p:txBody>
      </p:sp>
      <p:cxnSp>
        <p:nvCxnSpPr>
          <p:cNvPr id="36" name="Straight Connector 35">
            <a:extLst>
              <a:ext uri="{FF2B5EF4-FFF2-40B4-BE49-F238E27FC236}">
                <a16:creationId xmlns:a16="http://schemas.microsoft.com/office/drawing/2014/main" id="{E5D2AF24-0DD8-75B3-605D-5F130381A02D}"/>
              </a:ext>
            </a:extLst>
          </p:cNvPr>
          <p:cNvCxnSpPr/>
          <p:nvPr/>
        </p:nvCxnSpPr>
        <p:spPr>
          <a:xfrm>
            <a:off x="257630" y="914400"/>
            <a:ext cx="559267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BF085B3C-C89D-CA91-65AC-8CEEF56AAD87}"/>
              </a:ext>
            </a:extLst>
          </p:cNvPr>
          <p:cNvCxnSpPr/>
          <p:nvPr/>
        </p:nvCxnSpPr>
        <p:spPr>
          <a:xfrm>
            <a:off x="6239330" y="914400"/>
            <a:ext cx="559267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9" name="TextBox 38">
            <a:extLst>
              <a:ext uri="{FF2B5EF4-FFF2-40B4-BE49-F238E27FC236}">
                <a16:creationId xmlns:a16="http://schemas.microsoft.com/office/drawing/2014/main" id="{A65F4245-4AF5-40C4-AF6B-AE261E5A6AA7}"/>
              </a:ext>
            </a:extLst>
          </p:cNvPr>
          <p:cNvSpPr txBox="1"/>
          <p:nvPr/>
        </p:nvSpPr>
        <p:spPr>
          <a:xfrm>
            <a:off x="6239329" y="1155569"/>
            <a:ext cx="5695041" cy="4632037"/>
          </a:xfrm>
          <a:prstGeom prst="rect">
            <a:avLst/>
          </a:prstGeom>
          <a:noFill/>
        </p:spPr>
        <p:txBody>
          <a:bodyPr wrap="square" rtlCol="0">
            <a:spAutoFit/>
          </a:bodyPr>
          <a:lstStyle/>
          <a:p>
            <a:pPr algn="just">
              <a:spcAft>
                <a:spcPts val="1200"/>
              </a:spcAft>
            </a:pPr>
            <a:r>
              <a:rPr lang="en-US" sz="1800" b="1">
                <a:solidFill>
                  <a:prstClr val="black"/>
                </a:solidFill>
                <a:latin typeface="Arial"/>
              </a:rPr>
              <a:t>Audit Period </a:t>
            </a:r>
            <a:r>
              <a:rPr lang="en-US" sz="1800">
                <a:solidFill>
                  <a:prstClr val="black"/>
                </a:solidFill>
                <a:latin typeface="Arial"/>
              </a:rPr>
              <a:t>| July 2021 to December 2022</a:t>
            </a:r>
          </a:p>
          <a:p>
            <a:pPr algn="l"/>
            <a:r>
              <a:rPr lang="en-US" b="1">
                <a:solidFill>
                  <a:prstClr val="black"/>
                </a:solidFill>
                <a:latin typeface="Arial"/>
              </a:rPr>
              <a:t>Principal Recipient </a:t>
            </a:r>
            <a:r>
              <a:rPr lang="en-US">
                <a:solidFill>
                  <a:prstClr val="black"/>
                </a:solidFill>
                <a:latin typeface="Arial"/>
              </a:rPr>
              <a:t>| Ministry of Health of the Lao People’s Democratic Republic</a:t>
            </a:r>
          </a:p>
          <a:p>
            <a:pPr algn="l"/>
            <a:endParaRPr lang="en-US">
              <a:solidFill>
                <a:prstClr val="black"/>
              </a:solidFill>
              <a:latin typeface="Arial"/>
            </a:endParaRPr>
          </a:p>
          <a:p>
            <a:pPr algn="just">
              <a:spcBef>
                <a:spcPts val="600"/>
              </a:spcBef>
              <a:spcAft>
                <a:spcPts val="600"/>
              </a:spcAft>
            </a:pPr>
            <a:r>
              <a:rPr lang="en-US" b="1">
                <a:solidFill>
                  <a:prstClr val="black"/>
                </a:solidFill>
                <a:latin typeface="Arial"/>
              </a:rPr>
              <a:t>Work Performed:</a:t>
            </a:r>
          </a:p>
          <a:p>
            <a:pPr marL="285750" indent="-285750">
              <a:buFont typeface="Arial" panose="020B0604020202020204" pitchFamily="34" charset="0"/>
              <a:buChar char="•"/>
            </a:pPr>
            <a:r>
              <a:rPr kumimoji="0" lang="en-US" sz="1800" b="1" i="0" u="none" strike="noStrike" kern="1200" cap="none" spc="0" normalizeH="0" baseline="0" noProof="0">
                <a:ln>
                  <a:noFill/>
                </a:ln>
                <a:effectLst/>
                <a:uLnTx/>
                <a:uFillTx/>
                <a:latin typeface="Arial"/>
                <a:ea typeface="+mn-ea"/>
                <a:cs typeface="+mn-cs"/>
              </a:rPr>
              <a:t>Interviewed key stakeholders </a:t>
            </a:r>
            <a:r>
              <a:rPr kumimoji="0" lang="en-US" sz="1800" b="0" i="0" u="none" strike="noStrike" kern="1200" cap="none" spc="0" normalizeH="0" baseline="0" noProof="0">
                <a:ln>
                  <a:noFill/>
                </a:ln>
                <a:effectLst/>
                <a:uLnTx/>
                <a:uFillTx/>
                <a:latin typeface="Arial"/>
                <a:ea typeface="+mn-ea"/>
                <a:cs typeface="+mn-cs"/>
              </a:rPr>
              <a:t>incl. </a:t>
            </a:r>
            <a:r>
              <a:rPr lang="en-US" sz="1800" b="0" i="0" u="none" strike="noStrike" baseline="0">
                <a:latin typeface="Arial" panose="020B0604020202020204" pitchFamily="34" charset="0"/>
              </a:rPr>
              <a:t>country coordination structures, implementers, the National Disease Programs, and development partners to discuss the audit objectives, scope, and approach </a:t>
            </a:r>
          </a:p>
          <a:p>
            <a:pPr marL="285750" indent="-285750">
              <a:buFont typeface="Arial" panose="020B0604020202020204" pitchFamily="34" charset="0"/>
              <a:buChar char="•"/>
            </a:pPr>
            <a:endParaRPr kumimoji="0" lang="en-US" sz="1800" b="1" i="0" u="none" strike="noStrike" kern="1200" cap="none" spc="0" normalizeH="0" baseline="0" noProof="0">
              <a:ln>
                <a:noFill/>
              </a:ln>
              <a:solidFill>
                <a:prstClr val="black"/>
              </a:solidFill>
              <a:effectLst/>
              <a:uLnTx/>
              <a:uFillTx/>
              <a:latin typeface="Arial"/>
              <a:ea typeface="+mn-ea"/>
              <a:cs typeface="+mn-cs"/>
            </a:endParaRPr>
          </a:p>
          <a:p>
            <a:pPr marL="285750" indent="-285750">
              <a:buFont typeface="Arial" panose="020B0604020202020204" pitchFamily="34" charset="0"/>
              <a:buChar char="•"/>
            </a:pPr>
            <a:r>
              <a:rPr kumimoji="0" lang="en-US" sz="1800" b="1" i="0" u="none" strike="noStrike" kern="1200" cap="none" spc="0" normalizeH="0" baseline="0" noProof="0">
                <a:ln>
                  <a:noFill/>
                </a:ln>
                <a:solidFill>
                  <a:prstClr val="black"/>
                </a:solidFill>
                <a:effectLst/>
                <a:uLnTx/>
                <a:uFillTx/>
                <a:latin typeface="Arial"/>
                <a:ea typeface="+mn-ea"/>
                <a:cs typeface="+mn-cs"/>
              </a:rPr>
              <a:t>Reviewed relevant documents </a:t>
            </a:r>
            <a:r>
              <a:rPr kumimoji="0" lang="en-US" sz="1800" b="0" i="0" u="none" strike="noStrike" kern="1200" cap="none" spc="0" normalizeH="0" baseline="0" noProof="0">
                <a:ln>
                  <a:noFill/>
                </a:ln>
                <a:solidFill>
                  <a:prstClr val="black"/>
                </a:solidFill>
                <a:effectLst/>
                <a:uLnTx/>
                <a:uFillTx/>
                <a:latin typeface="Arial"/>
                <a:ea typeface="+mn-ea"/>
                <a:cs typeface="+mn-cs"/>
              </a:rPr>
              <a:t>and implementers’ processes/controls</a:t>
            </a:r>
            <a:endParaRPr kumimoji="0" lang="en-US" sz="1800" b="1" i="0" u="none" strike="noStrike" kern="1200" cap="none" spc="0" normalizeH="0" baseline="0" noProof="0">
              <a:ln>
                <a:noFill/>
              </a:ln>
              <a:solidFill>
                <a:prstClr val="black"/>
              </a:solidFill>
              <a:effectLst/>
              <a:uLnTx/>
              <a:uFillTx/>
              <a:latin typeface="Arial"/>
              <a:ea typeface="+mn-ea"/>
              <a:cs typeface="+mn-cs"/>
            </a:endParaRPr>
          </a:p>
          <a:p>
            <a:pPr marL="285750" marR="0" lvl="0" indent="-285750" defTabSz="914400" rtl="0" eaLnBrk="1" fontAlgn="auto" latinLnBrk="0" hangingPunct="1">
              <a:spcBef>
                <a:spcPts val="0"/>
              </a:spcBef>
              <a:spcAft>
                <a:spcPts val="600"/>
              </a:spcAft>
              <a:buClrTx/>
              <a:buSzTx/>
              <a:buFont typeface="Arial" panose="020B0604020202020204" pitchFamily="34" charset="0"/>
              <a:buChar char="•"/>
              <a:tabLst/>
              <a:defRPr/>
            </a:pPr>
            <a:endParaRPr kumimoji="0" lang="en-US" sz="1800" b="1" i="0" u="none" strike="noStrike" kern="1200" cap="none" spc="0" normalizeH="0" baseline="0" noProof="0">
              <a:ln>
                <a:noFill/>
              </a:ln>
              <a:solidFill>
                <a:prstClr val="black"/>
              </a:solidFill>
              <a:effectLst/>
              <a:uLnTx/>
              <a:uFillTx/>
              <a:latin typeface="Arial"/>
              <a:ea typeface="+mn-ea"/>
              <a:cs typeface="+mn-cs"/>
            </a:endParaRPr>
          </a:p>
          <a:p>
            <a:pPr marL="285750" marR="0" lvl="0" indent="-285750" defTabSz="914400" rtl="0" eaLnBrk="1" fontAlgn="auto" latinLnBrk="0" hangingPunct="1">
              <a:spcBef>
                <a:spcPts val="0"/>
              </a:spcBef>
              <a:spcAft>
                <a:spcPts val="600"/>
              </a:spcAft>
              <a:buClrTx/>
              <a:buSzTx/>
              <a:buFont typeface="Arial" panose="020B0604020202020204" pitchFamily="34" charset="0"/>
              <a:buChar char="•"/>
              <a:tabLst/>
              <a:defRPr/>
            </a:pPr>
            <a:r>
              <a:rPr kumimoji="0" lang="en-US" sz="1800" b="1" i="0" u="none" strike="noStrike" kern="1200" cap="none" spc="0" normalizeH="0" baseline="0" noProof="0">
                <a:ln>
                  <a:noFill/>
                </a:ln>
                <a:solidFill>
                  <a:prstClr val="black"/>
                </a:solidFill>
                <a:effectLst/>
                <a:uLnTx/>
                <a:uFillTx/>
                <a:latin typeface="Arial"/>
                <a:ea typeface="+mn-ea"/>
                <a:cs typeface="+mn-cs"/>
              </a:rPr>
              <a:t>Reliance placed on work done </a:t>
            </a:r>
            <a:r>
              <a:rPr kumimoji="0" lang="en-US" sz="1800" b="0" i="0" u="none" strike="noStrike" kern="1200" cap="none" spc="0" normalizeH="0" baseline="0" noProof="0">
                <a:ln>
                  <a:noFill/>
                </a:ln>
                <a:solidFill>
                  <a:prstClr val="black"/>
                </a:solidFill>
                <a:effectLst/>
                <a:uLnTx/>
                <a:uFillTx/>
                <a:latin typeface="Arial"/>
                <a:ea typeface="+mn-ea"/>
                <a:cs typeface="+mn-cs"/>
              </a:rPr>
              <a:t>by other assurance providers</a:t>
            </a:r>
          </a:p>
        </p:txBody>
      </p:sp>
      <p:sp>
        <p:nvSpPr>
          <p:cNvPr id="46" name="Rectangle 45">
            <a:extLst>
              <a:ext uri="{FF2B5EF4-FFF2-40B4-BE49-F238E27FC236}">
                <a16:creationId xmlns:a16="http://schemas.microsoft.com/office/drawing/2014/main" id="{CA9BBC30-BDAE-3140-2F94-1BB66B6F352E}"/>
              </a:ext>
            </a:extLst>
          </p:cNvPr>
          <p:cNvSpPr/>
          <p:nvPr/>
        </p:nvSpPr>
        <p:spPr>
          <a:xfrm>
            <a:off x="257627" y="5507293"/>
            <a:ext cx="5592671" cy="850190"/>
          </a:xfrm>
          <a:prstGeom prst="rect">
            <a:avLst/>
          </a:prstGeom>
          <a:solidFill>
            <a:schemeClr val="bg1">
              <a:lumMod val="85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7" name="TextBox 46">
            <a:extLst>
              <a:ext uri="{FF2B5EF4-FFF2-40B4-BE49-F238E27FC236}">
                <a16:creationId xmlns:a16="http://schemas.microsoft.com/office/drawing/2014/main" id="{005E14C6-39A3-7054-24D0-BC004ABBCAA9}"/>
              </a:ext>
            </a:extLst>
          </p:cNvPr>
          <p:cNvSpPr txBox="1"/>
          <p:nvPr/>
        </p:nvSpPr>
        <p:spPr>
          <a:xfrm>
            <a:off x="404920" y="5610576"/>
            <a:ext cx="2649042" cy="661720"/>
          </a:xfrm>
          <a:prstGeom prst="rect">
            <a:avLst/>
          </a:prstGeom>
          <a:noFill/>
        </p:spPr>
        <p:txBody>
          <a:bodyPr wrap="square" rtlCol="0">
            <a:spAutoFit/>
          </a:bodyPr>
          <a:lstStyle/>
          <a:p>
            <a:pPr marL="285750" indent="-285750">
              <a:spcAft>
                <a:spcPts val="600"/>
              </a:spcAft>
              <a:buFont typeface="Wingdings" panose="05000000000000000000" pitchFamily="2" charset="2"/>
              <a:buChar char="§"/>
            </a:pPr>
            <a:r>
              <a:rPr lang="en-US" sz="1600"/>
              <a:t>1 PH Specialist</a:t>
            </a:r>
          </a:p>
          <a:p>
            <a:pPr marL="285750" indent="-285750">
              <a:spcAft>
                <a:spcPts val="600"/>
              </a:spcAft>
              <a:buFont typeface="Wingdings" panose="05000000000000000000" pitchFamily="2" charset="2"/>
              <a:buChar char="§"/>
            </a:pPr>
            <a:r>
              <a:rPr lang="en-US" sz="1600"/>
              <a:t>1 Financial Auditor</a:t>
            </a:r>
          </a:p>
        </p:txBody>
      </p:sp>
      <p:sp>
        <p:nvSpPr>
          <p:cNvPr id="3" name="Rectangle 85">
            <a:extLst>
              <a:ext uri="{FF2B5EF4-FFF2-40B4-BE49-F238E27FC236}">
                <a16:creationId xmlns:a16="http://schemas.microsoft.com/office/drawing/2014/main" id="{E48220A8-D7FC-5C70-AD24-EC3F404C4478}"/>
              </a:ext>
            </a:extLst>
          </p:cNvPr>
          <p:cNvSpPr>
            <a:spLocks noChangeAspect="1"/>
          </p:cNvSpPr>
          <p:nvPr/>
        </p:nvSpPr>
        <p:spPr>
          <a:xfrm>
            <a:off x="257627" y="2354651"/>
            <a:ext cx="822960" cy="766575"/>
          </a:xfrm>
          <a:custGeom>
            <a:avLst/>
            <a:gdLst/>
            <a:ahLst/>
            <a:cxnLst/>
            <a:rect l="l" t="t" r="r" b="b"/>
            <a:pathLst>
              <a:path w="720080" h="720080">
                <a:moveTo>
                  <a:pt x="327386" y="329590"/>
                </a:moveTo>
                <a:lnTo>
                  <a:pt x="392694" y="329590"/>
                </a:lnTo>
                <a:lnTo>
                  <a:pt x="392694" y="386202"/>
                </a:lnTo>
                <a:lnTo>
                  <a:pt x="449306" y="386202"/>
                </a:lnTo>
                <a:lnTo>
                  <a:pt x="449306" y="451445"/>
                </a:lnTo>
                <a:lnTo>
                  <a:pt x="392694" y="451445"/>
                </a:lnTo>
                <a:lnTo>
                  <a:pt x="392694" y="508057"/>
                </a:lnTo>
                <a:lnTo>
                  <a:pt x="327386" y="508057"/>
                </a:lnTo>
                <a:lnTo>
                  <a:pt x="327386" y="451445"/>
                </a:lnTo>
                <a:lnTo>
                  <a:pt x="270774" y="451445"/>
                </a:lnTo>
                <a:lnTo>
                  <a:pt x="270774" y="386202"/>
                </a:lnTo>
                <a:lnTo>
                  <a:pt x="327386" y="386202"/>
                </a:lnTo>
                <a:close/>
                <a:moveTo>
                  <a:pt x="296104" y="177128"/>
                </a:moveTo>
                <a:lnTo>
                  <a:pt x="424057" y="177128"/>
                </a:lnTo>
                <a:lnTo>
                  <a:pt x="424057" y="236939"/>
                </a:lnTo>
                <a:lnTo>
                  <a:pt x="296104" y="236939"/>
                </a:lnTo>
                <a:close/>
                <a:moveTo>
                  <a:pt x="262913" y="143937"/>
                </a:moveTo>
                <a:lnTo>
                  <a:pt x="262913" y="238764"/>
                </a:lnTo>
                <a:lnTo>
                  <a:pt x="136088" y="238764"/>
                </a:lnTo>
                <a:cubicBezTo>
                  <a:pt x="120582" y="238764"/>
                  <a:pt x="108012" y="251334"/>
                  <a:pt x="108012" y="266840"/>
                </a:cubicBezTo>
                <a:lnTo>
                  <a:pt x="108012" y="570728"/>
                </a:lnTo>
                <a:cubicBezTo>
                  <a:pt x="108012" y="586234"/>
                  <a:pt x="120582" y="598804"/>
                  <a:pt x="136088" y="598804"/>
                </a:cubicBezTo>
                <a:lnTo>
                  <a:pt x="583992" y="598804"/>
                </a:lnTo>
                <a:cubicBezTo>
                  <a:pt x="599498" y="598804"/>
                  <a:pt x="612068" y="586234"/>
                  <a:pt x="612068" y="570728"/>
                </a:cubicBezTo>
                <a:lnTo>
                  <a:pt x="612068" y="266840"/>
                </a:lnTo>
                <a:cubicBezTo>
                  <a:pt x="612068" y="251334"/>
                  <a:pt x="599498" y="238764"/>
                  <a:pt x="583992" y="238764"/>
                </a:cubicBezTo>
                <a:lnTo>
                  <a:pt x="457248" y="238764"/>
                </a:lnTo>
                <a:lnTo>
                  <a:pt x="457248" y="143937"/>
                </a:lnTo>
                <a:close/>
                <a:moveTo>
                  <a:pt x="19730" y="0"/>
                </a:moveTo>
                <a:lnTo>
                  <a:pt x="700350" y="0"/>
                </a:lnTo>
                <a:cubicBezTo>
                  <a:pt x="711247" y="0"/>
                  <a:pt x="720080" y="8833"/>
                  <a:pt x="720080" y="19730"/>
                </a:cubicBezTo>
                <a:lnTo>
                  <a:pt x="720080" y="700350"/>
                </a:lnTo>
                <a:cubicBezTo>
                  <a:pt x="720080" y="711247"/>
                  <a:pt x="711247" y="720080"/>
                  <a:pt x="700350" y="720080"/>
                </a:cubicBezTo>
                <a:lnTo>
                  <a:pt x="19730" y="720080"/>
                </a:lnTo>
                <a:cubicBezTo>
                  <a:pt x="8833" y="720080"/>
                  <a:pt x="0" y="711247"/>
                  <a:pt x="0" y="700350"/>
                </a:cubicBezTo>
                <a:lnTo>
                  <a:pt x="0" y="19730"/>
                </a:lnTo>
                <a:cubicBezTo>
                  <a:pt x="0" y="8833"/>
                  <a:pt x="8833" y="0"/>
                  <a:pt x="19730" y="0"/>
                </a:cubicBezTo>
                <a:close/>
              </a:path>
            </a:pathLst>
          </a:cu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custDataLst>
      <p:custData r:id="rId1"/>
      <p:custData r:id="rId2"/>
    </p:custDataLst>
    <p:extLst>
      <p:ext uri="{BB962C8B-B14F-4D97-AF65-F5344CB8AC3E}">
        <p14:creationId xmlns:p14="http://schemas.microsoft.com/office/powerpoint/2010/main" val="305642757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6E66EE26-2E0D-44E7-A0FD-9D7C25304C70}"/>
              </a:ext>
            </a:extLst>
          </p:cNvPr>
          <p:cNvSpPr>
            <a:spLocks noGrp="1"/>
          </p:cNvSpPr>
          <p:nvPr>
            <p:ph type="sldNum" sz="quarter" idx="12"/>
          </p:nvPr>
        </p:nvSpPr>
        <p:spPr/>
        <p:txBody>
          <a:bodyPr/>
          <a:lstStyle/>
          <a:p>
            <a:fld id="{9E2BE927-25C7-4379-86F1-C17ED9D2A7F2}" type="slidenum">
              <a:rPr lang="en-US" smtClean="0"/>
              <a:pPr/>
              <a:t>5</a:t>
            </a:fld>
            <a:endParaRPr lang="en-US"/>
          </a:p>
        </p:txBody>
      </p:sp>
      <p:sp>
        <p:nvSpPr>
          <p:cNvPr id="3" name="Title 2">
            <a:extLst>
              <a:ext uri="{FF2B5EF4-FFF2-40B4-BE49-F238E27FC236}">
                <a16:creationId xmlns:a16="http://schemas.microsoft.com/office/drawing/2014/main" id="{1255106F-BA79-40AF-99E9-66D8C6940A15}"/>
              </a:ext>
            </a:extLst>
          </p:cNvPr>
          <p:cNvSpPr>
            <a:spLocks noGrp="1"/>
          </p:cNvSpPr>
          <p:nvPr>
            <p:ph type="title"/>
          </p:nvPr>
        </p:nvSpPr>
        <p:spPr/>
        <p:txBody>
          <a:bodyPr/>
          <a:lstStyle/>
          <a:p>
            <a:r>
              <a:rPr lang="en-US"/>
              <a:t>Key messages across objectives</a:t>
            </a:r>
          </a:p>
        </p:txBody>
      </p:sp>
      <p:sp>
        <p:nvSpPr>
          <p:cNvPr id="8" name="Subtitle 10">
            <a:extLst>
              <a:ext uri="{FF2B5EF4-FFF2-40B4-BE49-F238E27FC236}">
                <a16:creationId xmlns:a16="http://schemas.microsoft.com/office/drawing/2014/main" id="{ADD84C06-871C-0CA3-EA0A-3FCF0031E0B3}"/>
              </a:ext>
            </a:extLst>
          </p:cNvPr>
          <p:cNvSpPr txBox="1">
            <a:spLocks/>
          </p:cNvSpPr>
          <p:nvPr/>
        </p:nvSpPr>
        <p:spPr>
          <a:xfrm>
            <a:off x="883514" y="2336187"/>
            <a:ext cx="10948124" cy="822960"/>
          </a:xfrm>
          <a:prstGeom prst="rect">
            <a:avLst/>
          </a:prstGeom>
          <a:noFill/>
        </p:spPr>
        <p:txBody>
          <a:bodyPr lIns="182880" tIns="0" rIns="91440" bIns="0" anchor="ctr" anchorCtr="0">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j-lt"/>
                <a:ea typeface="+mn-ea"/>
                <a:cs typeface="+mn-cs"/>
              </a:defRPr>
            </a:lvl1pPr>
            <a:lvl2pPr marL="180975" indent="-180975"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2pPr>
            <a:lvl3pPr marL="361950" indent="-180975"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542925" indent="-180975"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714375" indent="-17145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714375" indent="-171450" algn="l" defTabSz="914400" rtl="0" eaLnBrk="1" latinLnBrk="0" hangingPunct="1">
              <a:lnSpc>
                <a:spcPct val="90000"/>
              </a:lnSpc>
              <a:spcBef>
                <a:spcPts val="500"/>
              </a:spcBef>
              <a:buFont typeface="Arial" panose="020B0604020202020204" pitchFamily="34" charset="0"/>
              <a:buChar char="•"/>
              <a:tabLst/>
              <a:defRPr sz="1400" kern="1200">
                <a:solidFill>
                  <a:schemeClr val="tx1"/>
                </a:solidFill>
                <a:latin typeface="+mn-lt"/>
                <a:ea typeface="+mn-ea"/>
                <a:cs typeface="+mn-cs"/>
              </a:defRPr>
            </a:lvl6pPr>
            <a:lvl7pPr marL="714375" indent="-171450" algn="l" defTabSz="914400" rtl="0" eaLnBrk="1" latinLnBrk="0" hangingPunct="1">
              <a:lnSpc>
                <a:spcPct val="90000"/>
              </a:lnSpc>
              <a:spcBef>
                <a:spcPts val="500"/>
              </a:spcBef>
              <a:buFont typeface="Arial" panose="020B0604020202020204" pitchFamily="34" charset="0"/>
              <a:buChar char="•"/>
              <a:tabLst/>
              <a:defRPr sz="1400" kern="1200">
                <a:solidFill>
                  <a:schemeClr val="tx1"/>
                </a:solidFill>
                <a:latin typeface="+mn-lt"/>
                <a:ea typeface="+mn-ea"/>
                <a:cs typeface="+mn-cs"/>
              </a:defRPr>
            </a:lvl7pPr>
            <a:lvl8pPr marL="714375" indent="-171450" algn="l" defTabSz="914400" rtl="0" eaLnBrk="1" latinLnBrk="0" hangingPunct="1">
              <a:lnSpc>
                <a:spcPct val="90000"/>
              </a:lnSpc>
              <a:spcBef>
                <a:spcPts val="500"/>
              </a:spcBef>
              <a:buFont typeface="Arial" panose="020B0604020202020204" pitchFamily="34" charset="0"/>
              <a:buChar char="•"/>
              <a:tabLst/>
              <a:defRPr sz="1400" kern="1200">
                <a:solidFill>
                  <a:schemeClr val="tx1"/>
                </a:solidFill>
                <a:latin typeface="+mn-lt"/>
                <a:ea typeface="+mn-ea"/>
                <a:cs typeface="+mn-cs"/>
              </a:defRPr>
            </a:lvl8pPr>
            <a:lvl9pPr marL="714375" indent="-171450" algn="l" defTabSz="914400" rtl="0" eaLnBrk="1" latinLnBrk="0" hangingPunct="1">
              <a:lnSpc>
                <a:spcPct val="90000"/>
              </a:lnSpc>
              <a:spcBef>
                <a:spcPts val="500"/>
              </a:spcBef>
              <a:buFont typeface="Arial" panose="020B0604020202020204" pitchFamily="34" charset="0"/>
              <a:buChar char="•"/>
              <a:tabLst/>
              <a:defRPr sz="1400" kern="1200">
                <a:solidFill>
                  <a:schemeClr val="tx1"/>
                </a:solidFill>
                <a:latin typeface="+mn-lt"/>
                <a:ea typeface="+mn-ea"/>
                <a:cs typeface="+mn-cs"/>
              </a:defRPr>
            </a:lvl9pPr>
          </a:lstStyle>
          <a:p>
            <a:pPr marL="0" indent="0" algn="just">
              <a:spcBef>
                <a:spcPts val="0"/>
              </a:spcBef>
              <a:buNone/>
            </a:pPr>
            <a:r>
              <a:rPr lang="en-US" sz="1800"/>
              <a:t>Challenges in implementing people centered systems for health and maximizing human rights</a:t>
            </a:r>
          </a:p>
        </p:txBody>
      </p:sp>
      <p:grpSp>
        <p:nvGrpSpPr>
          <p:cNvPr id="29" name="Group 28">
            <a:extLst>
              <a:ext uri="{FF2B5EF4-FFF2-40B4-BE49-F238E27FC236}">
                <a16:creationId xmlns:a16="http://schemas.microsoft.com/office/drawing/2014/main" id="{3E995877-CA7B-C377-25EC-1C0416D6887F}"/>
              </a:ext>
            </a:extLst>
          </p:cNvPr>
          <p:cNvGrpSpPr/>
          <p:nvPr/>
        </p:nvGrpSpPr>
        <p:grpSpPr>
          <a:xfrm>
            <a:off x="359639" y="2454970"/>
            <a:ext cx="548640" cy="622935"/>
            <a:chOff x="359639" y="1092895"/>
            <a:chExt cx="548640" cy="622935"/>
          </a:xfrm>
        </p:grpSpPr>
        <p:sp>
          <p:nvSpPr>
            <p:cNvPr id="5" name="Rectangle 85">
              <a:extLst>
                <a:ext uri="{FF2B5EF4-FFF2-40B4-BE49-F238E27FC236}">
                  <a16:creationId xmlns:a16="http://schemas.microsoft.com/office/drawing/2014/main" id="{0277FFB0-21A1-EB8D-75DE-D3A77BEE1F02}"/>
                </a:ext>
              </a:extLst>
            </p:cNvPr>
            <p:cNvSpPr>
              <a:spLocks noChangeAspect="1"/>
            </p:cNvSpPr>
            <p:nvPr/>
          </p:nvSpPr>
          <p:spPr>
            <a:xfrm>
              <a:off x="359639" y="1092895"/>
              <a:ext cx="548640" cy="548640"/>
            </a:xfrm>
            <a:custGeom>
              <a:avLst/>
              <a:gdLst/>
              <a:ahLst/>
              <a:cxnLst/>
              <a:rect l="l" t="t" r="r" b="b"/>
              <a:pathLst>
                <a:path w="720080" h="720080">
                  <a:moveTo>
                    <a:pt x="327386" y="329590"/>
                  </a:moveTo>
                  <a:lnTo>
                    <a:pt x="392694" y="329590"/>
                  </a:lnTo>
                  <a:lnTo>
                    <a:pt x="392694" y="386202"/>
                  </a:lnTo>
                  <a:lnTo>
                    <a:pt x="449306" y="386202"/>
                  </a:lnTo>
                  <a:lnTo>
                    <a:pt x="449306" y="451445"/>
                  </a:lnTo>
                  <a:lnTo>
                    <a:pt x="392694" y="451445"/>
                  </a:lnTo>
                  <a:lnTo>
                    <a:pt x="392694" y="508057"/>
                  </a:lnTo>
                  <a:lnTo>
                    <a:pt x="327386" y="508057"/>
                  </a:lnTo>
                  <a:lnTo>
                    <a:pt x="327386" y="451445"/>
                  </a:lnTo>
                  <a:lnTo>
                    <a:pt x="270774" y="451445"/>
                  </a:lnTo>
                  <a:lnTo>
                    <a:pt x="270774" y="386202"/>
                  </a:lnTo>
                  <a:lnTo>
                    <a:pt x="327386" y="386202"/>
                  </a:lnTo>
                  <a:close/>
                  <a:moveTo>
                    <a:pt x="296104" y="177128"/>
                  </a:moveTo>
                  <a:lnTo>
                    <a:pt x="424057" y="177128"/>
                  </a:lnTo>
                  <a:lnTo>
                    <a:pt x="424057" y="236939"/>
                  </a:lnTo>
                  <a:lnTo>
                    <a:pt x="296104" y="236939"/>
                  </a:lnTo>
                  <a:close/>
                  <a:moveTo>
                    <a:pt x="262913" y="143937"/>
                  </a:moveTo>
                  <a:lnTo>
                    <a:pt x="262913" y="238764"/>
                  </a:lnTo>
                  <a:lnTo>
                    <a:pt x="136088" y="238764"/>
                  </a:lnTo>
                  <a:cubicBezTo>
                    <a:pt x="120582" y="238764"/>
                    <a:pt x="108012" y="251334"/>
                    <a:pt x="108012" y="266840"/>
                  </a:cubicBezTo>
                  <a:lnTo>
                    <a:pt x="108012" y="570728"/>
                  </a:lnTo>
                  <a:cubicBezTo>
                    <a:pt x="108012" y="586234"/>
                    <a:pt x="120582" y="598804"/>
                    <a:pt x="136088" y="598804"/>
                  </a:cubicBezTo>
                  <a:lnTo>
                    <a:pt x="583992" y="598804"/>
                  </a:lnTo>
                  <a:cubicBezTo>
                    <a:pt x="599498" y="598804"/>
                    <a:pt x="612068" y="586234"/>
                    <a:pt x="612068" y="570728"/>
                  </a:cubicBezTo>
                  <a:lnTo>
                    <a:pt x="612068" y="266840"/>
                  </a:lnTo>
                  <a:cubicBezTo>
                    <a:pt x="612068" y="251334"/>
                    <a:pt x="599498" y="238764"/>
                    <a:pt x="583992" y="238764"/>
                  </a:cubicBezTo>
                  <a:lnTo>
                    <a:pt x="457248" y="238764"/>
                  </a:lnTo>
                  <a:lnTo>
                    <a:pt x="457248" y="143937"/>
                  </a:lnTo>
                  <a:close/>
                  <a:moveTo>
                    <a:pt x="19730" y="0"/>
                  </a:moveTo>
                  <a:lnTo>
                    <a:pt x="700350" y="0"/>
                  </a:lnTo>
                  <a:cubicBezTo>
                    <a:pt x="711247" y="0"/>
                    <a:pt x="720080" y="8833"/>
                    <a:pt x="720080" y="19730"/>
                  </a:cubicBezTo>
                  <a:lnTo>
                    <a:pt x="720080" y="700350"/>
                  </a:lnTo>
                  <a:cubicBezTo>
                    <a:pt x="720080" y="711247"/>
                    <a:pt x="711247" y="720080"/>
                    <a:pt x="700350" y="720080"/>
                  </a:cubicBezTo>
                  <a:lnTo>
                    <a:pt x="19730" y="720080"/>
                  </a:lnTo>
                  <a:cubicBezTo>
                    <a:pt x="8833" y="720080"/>
                    <a:pt x="0" y="711247"/>
                    <a:pt x="0" y="700350"/>
                  </a:cubicBezTo>
                  <a:lnTo>
                    <a:pt x="0" y="19730"/>
                  </a:lnTo>
                  <a:cubicBezTo>
                    <a:pt x="0" y="8833"/>
                    <a:pt x="8833" y="0"/>
                    <a:pt x="19730" y="0"/>
                  </a:cubicBezTo>
                  <a:close/>
                </a:path>
              </a:pathLst>
            </a:custGeom>
            <a:solidFill>
              <a:srgbClr val="666666"/>
            </a:solidFill>
            <a:ln w="25400" cap="flat" cmpd="sng" algn="ctr">
              <a:noFill/>
              <a:prstDash val="solid"/>
            </a:ln>
            <a:effectLst/>
          </p:spPr>
          <p:txBody>
            <a:bodyPr rtlCol="0" anchor="ctr"/>
            <a:lstStyle/>
            <a:p>
              <a:pPr algn="ctr" fontAlgn="base">
                <a:spcBef>
                  <a:spcPct val="0"/>
                </a:spcBef>
                <a:spcAft>
                  <a:spcPct val="0"/>
                </a:spcAft>
                <a:defRPr/>
              </a:pPr>
              <a:endParaRPr lang="en-US" kern="0">
                <a:solidFill>
                  <a:prstClr val="white"/>
                </a:solidFill>
                <a:latin typeface="Arial"/>
                <a:ea typeface="SimHei"/>
              </a:endParaRPr>
            </a:p>
          </p:txBody>
        </p:sp>
        <p:cxnSp>
          <p:nvCxnSpPr>
            <p:cNvPr id="16" name="Straight Connector 15">
              <a:extLst>
                <a:ext uri="{FF2B5EF4-FFF2-40B4-BE49-F238E27FC236}">
                  <a16:creationId xmlns:a16="http://schemas.microsoft.com/office/drawing/2014/main" id="{ED33B4D8-7958-FC64-C1A5-55B1AE94C3F1}"/>
                </a:ext>
              </a:extLst>
            </p:cNvPr>
            <p:cNvCxnSpPr/>
            <p:nvPr/>
          </p:nvCxnSpPr>
          <p:spPr>
            <a:xfrm>
              <a:off x="359639" y="1715830"/>
              <a:ext cx="548640" cy="0"/>
            </a:xfrm>
            <a:prstGeom prst="line">
              <a:avLst/>
            </a:prstGeom>
            <a:ln w="82550" cmpd="sng">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grpSp>
        <p:nvGrpSpPr>
          <p:cNvPr id="30" name="Group 29">
            <a:extLst>
              <a:ext uri="{FF2B5EF4-FFF2-40B4-BE49-F238E27FC236}">
                <a16:creationId xmlns:a16="http://schemas.microsoft.com/office/drawing/2014/main" id="{C4CE38FD-89BC-6AD7-AA79-0A92D7D38717}"/>
              </a:ext>
            </a:extLst>
          </p:cNvPr>
          <p:cNvGrpSpPr/>
          <p:nvPr/>
        </p:nvGrpSpPr>
        <p:grpSpPr>
          <a:xfrm>
            <a:off x="359639" y="1134714"/>
            <a:ext cx="548640" cy="622935"/>
            <a:chOff x="359639" y="1092895"/>
            <a:chExt cx="548640" cy="622935"/>
          </a:xfrm>
        </p:grpSpPr>
        <p:sp>
          <p:nvSpPr>
            <p:cNvPr id="31" name="Rectangle 85">
              <a:extLst>
                <a:ext uri="{FF2B5EF4-FFF2-40B4-BE49-F238E27FC236}">
                  <a16:creationId xmlns:a16="http://schemas.microsoft.com/office/drawing/2014/main" id="{5F5D7078-997F-829C-FD25-A1AEB9193DBB}"/>
                </a:ext>
              </a:extLst>
            </p:cNvPr>
            <p:cNvSpPr>
              <a:spLocks noChangeAspect="1"/>
            </p:cNvSpPr>
            <p:nvPr/>
          </p:nvSpPr>
          <p:spPr>
            <a:xfrm>
              <a:off x="359639" y="1092895"/>
              <a:ext cx="548640" cy="548640"/>
            </a:xfrm>
            <a:custGeom>
              <a:avLst/>
              <a:gdLst/>
              <a:ahLst/>
              <a:cxnLst/>
              <a:rect l="l" t="t" r="r" b="b"/>
              <a:pathLst>
                <a:path w="720080" h="720080">
                  <a:moveTo>
                    <a:pt x="327386" y="329590"/>
                  </a:moveTo>
                  <a:lnTo>
                    <a:pt x="392694" y="329590"/>
                  </a:lnTo>
                  <a:lnTo>
                    <a:pt x="392694" y="386202"/>
                  </a:lnTo>
                  <a:lnTo>
                    <a:pt x="449306" y="386202"/>
                  </a:lnTo>
                  <a:lnTo>
                    <a:pt x="449306" y="451445"/>
                  </a:lnTo>
                  <a:lnTo>
                    <a:pt x="392694" y="451445"/>
                  </a:lnTo>
                  <a:lnTo>
                    <a:pt x="392694" y="508057"/>
                  </a:lnTo>
                  <a:lnTo>
                    <a:pt x="327386" y="508057"/>
                  </a:lnTo>
                  <a:lnTo>
                    <a:pt x="327386" y="451445"/>
                  </a:lnTo>
                  <a:lnTo>
                    <a:pt x="270774" y="451445"/>
                  </a:lnTo>
                  <a:lnTo>
                    <a:pt x="270774" y="386202"/>
                  </a:lnTo>
                  <a:lnTo>
                    <a:pt x="327386" y="386202"/>
                  </a:lnTo>
                  <a:close/>
                  <a:moveTo>
                    <a:pt x="296104" y="177128"/>
                  </a:moveTo>
                  <a:lnTo>
                    <a:pt x="424057" y="177128"/>
                  </a:lnTo>
                  <a:lnTo>
                    <a:pt x="424057" y="236939"/>
                  </a:lnTo>
                  <a:lnTo>
                    <a:pt x="296104" y="236939"/>
                  </a:lnTo>
                  <a:close/>
                  <a:moveTo>
                    <a:pt x="262913" y="143937"/>
                  </a:moveTo>
                  <a:lnTo>
                    <a:pt x="262913" y="238764"/>
                  </a:lnTo>
                  <a:lnTo>
                    <a:pt x="136088" y="238764"/>
                  </a:lnTo>
                  <a:cubicBezTo>
                    <a:pt x="120582" y="238764"/>
                    <a:pt x="108012" y="251334"/>
                    <a:pt x="108012" y="266840"/>
                  </a:cubicBezTo>
                  <a:lnTo>
                    <a:pt x="108012" y="570728"/>
                  </a:lnTo>
                  <a:cubicBezTo>
                    <a:pt x="108012" y="586234"/>
                    <a:pt x="120582" y="598804"/>
                    <a:pt x="136088" y="598804"/>
                  </a:cubicBezTo>
                  <a:lnTo>
                    <a:pt x="583992" y="598804"/>
                  </a:lnTo>
                  <a:cubicBezTo>
                    <a:pt x="599498" y="598804"/>
                    <a:pt x="612068" y="586234"/>
                    <a:pt x="612068" y="570728"/>
                  </a:cubicBezTo>
                  <a:lnTo>
                    <a:pt x="612068" y="266840"/>
                  </a:lnTo>
                  <a:cubicBezTo>
                    <a:pt x="612068" y="251334"/>
                    <a:pt x="599498" y="238764"/>
                    <a:pt x="583992" y="238764"/>
                  </a:cubicBezTo>
                  <a:lnTo>
                    <a:pt x="457248" y="238764"/>
                  </a:lnTo>
                  <a:lnTo>
                    <a:pt x="457248" y="143937"/>
                  </a:lnTo>
                  <a:close/>
                  <a:moveTo>
                    <a:pt x="19730" y="0"/>
                  </a:moveTo>
                  <a:lnTo>
                    <a:pt x="700350" y="0"/>
                  </a:lnTo>
                  <a:cubicBezTo>
                    <a:pt x="711247" y="0"/>
                    <a:pt x="720080" y="8833"/>
                    <a:pt x="720080" y="19730"/>
                  </a:cubicBezTo>
                  <a:lnTo>
                    <a:pt x="720080" y="700350"/>
                  </a:lnTo>
                  <a:cubicBezTo>
                    <a:pt x="720080" y="711247"/>
                    <a:pt x="711247" y="720080"/>
                    <a:pt x="700350" y="720080"/>
                  </a:cubicBezTo>
                  <a:lnTo>
                    <a:pt x="19730" y="720080"/>
                  </a:lnTo>
                  <a:cubicBezTo>
                    <a:pt x="8833" y="720080"/>
                    <a:pt x="0" y="711247"/>
                    <a:pt x="0" y="700350"/>
                  </a:cubicBezTo>
                  <a:lnTo>
                    <a:pt x="0" y="19730"/>
                  </a:lnTo>
                  <a:cubicBezTo>
                    <a:pt x="0" y="8833"/>
                    <a:pt x="8833" y="0"/>
                    <a:pt x="19730" y="0"/>
                  </a:cubicBezTo>
                  <a:close/>
                </a:path>
              </a:pathLst>
            </a:custGeom>
            <a:solidFill>
              <a:srgbClr val="666666"/>
            </a:solidFill>
            <a:ln w="25400" cap="flat" cmpd="sng" algn="ctr">
              <a:noFill/>
              <a:prstDash val="solid"/>
            </a:ln>
            <a:effectLst/>
          </p:spPr>
          <p:txBody>
            <a:bodyPr rtlCol="0" anchor="ctr"/>
            <a:lstStyle/>
            <a:p>
              <a:pPr algn="ctr" fontAlgn="base">
                <a:spcBef>
                  <a:spcPct val="0"/>
                </a:spcBef>
                <a:spcAft>
                  <a:spcPct val="0"/>
                </a:spcAft>
                <a:defRPr/>
              </a:pPr>
              <a:endParaRPr lang="en-US" kern="0">
                <a:solidFill>
                  <a:prstClr val="white"/>
                </a:solidFill>
                <a:latin typeface="Arial"/>
                <a:ea typeface="SimHei"/>
              </a:endParaRPr>
            </a:p>
          </p:txBody>
        </p:sp>
        <p:cxnSp>
          <p:nvCxnSpPr>
            <p:cNvPr id="32" name="Straight Connector 31">
              <a:extLst>
                <a:ext uri="{FF2B5EF4-FFF2-40B4-BE49-F238E27FC236}">
                  <a16:creationId xmlns:a16="http://schemas.microsoft.com/office/drawing/2014/main" id="{14767C52-216E-18A9-4C7A-EBAC005504EA}"/>
                </a:ext>
              </a:extLst>
            </p:cNvPr>
            <p:cNvCxnSpPr/>
            <p:nvPr/>
          </p:nvCxnSpPr>
          <p:spPr>
            <a:xfrm>
              <a:off x="359639" y="1715830"/>
              <a:ext cx="548640" cy="0"/>
            </a:xfrm>
            <a:prstGeom prst="line">
              <a:avLst/>
            </a:prstGeom>
            <a:ln w="82550" cmpd="sng">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grpSp>
        <p:nvGrpSpPr>
          <p:cNvPr id="33" name="Group 32">
            <a:extLst>
              <a:ext uri="{FF2B5EF4-FFF2-40B4-BE49-F238E27FC236}">
                <a16:creationId xmlns:a16="http://schemas.microsoft.com/office/drawing/2014/main" id="{A02123F8-D74D-C688-C280-F04B3A796737}"/>
              </a:ext>
            </a:extLst>
          </p:cNvPr>
          <p:cNvGrpSpPr/>
          <p:nvPr/>
        </p:nvGrpSpPr>
        <p:grpSpPr>
          <a:xfrm>
            <a:off x="359092" y="3840063"/>
            <a:ext cx="550951" cy="623162"/>
            <a:chOff x="424003" y="3578693"/>
            <a:chExt cx="550951" cy="623162"/>
          </a:xfrm>
        </p:grpSpPr>
        <p:sp>
          <p:nvSpPr>
            <p:cNvPr id="34" name="Rectangle 85">
              <a:extLst>
                <a:ext uri="{FF2B5EF4-FFF2-40B4-BE49-F238E27FC236}">
                  <a16:creationId xmlns:a16="http://schemas.microsoft.com/office/drawing/2014/main" id="{8428B8E8-4592-271C-B039-EE8C6E9CB977}"/>
                </a:ext>
              </a:extLst>
            </p:cNvPr>
            <p:cNvSpPr>
              <a:spLocks noChangeAspect="1"/>
            </p:cNvSpPr>
            <p:nvPr/>
          </p:nvSpPr>
          <p:spPr>
            <a:xfrm>
              <a:off x="426314" y="3578693"/>
              <a:ext cx="548640" cy="548640"/>
            </a:xfrm>
            <a:custGeom>
              <a:avLst/>
              <a:gdLst/>
              <a:ahLst/>
              <a:cxnLst/>
              <a:rect l="l" t="t" r="r" b="b"/>
              <a:pathLst>
                <a:path w="720080" h="720080">
                  <a:moveTo>
                    <a:pt x="249590" y="392193"/>
                  </a:moveTo>
                  <a:lnTo>
                    <a:pt x="249590" y="447711"/>
                  </a:lnTo>
                  <a:lnTo>
                    <a:pt x="287444" y="447711"/>
                  </a:lnTo>
                  <a:lnTo>
                    <a:pt x="287444" y="392193"/>
                  </a:lnTo>
                  <a:close/>
                  <a:moveTo>
                    <a:pt x="325305" y="336662"/>
                  </a:moveTo>
                  <a:lnTo>
                    <a:pt x="325305" y="447711"/>
                  </a:lnTo>
                  <a:lnTo>
                    <a:pt x="363159" y="447711"/>
                  </a:lnTo>
                  <a:lnTo>
                    <a:pt x="363159" y="336662"/>
                  </a:lnTo>
                  <a:close/>
                  <a:moveTo>
                    <a:pt x="401021" y="281138"/>
                  </a:moveTo>
                  <a:lnTo>
                    <a:pt x="401021" y="447711"/>
                  </a:lnTo>
                  <a:lnTo>
                    <a:pt x="438874" y="447711"/>
                  </a:lnTo>
                  <a:lnTo>
                    <a:pt x="438874" y="281138"/>
                  </a:lnTo>
                  <a:close/>
                  <a:moveTo>
                    <a:pt x="434082" y="216025"/>
                  </a:moveTo>
                  <a:lnTo>
                    <a:pt x="359914" y="272611"/>
                  </a:lnTo>
                  <a:lnTo>
                    <a:pt x="307356" y="256258"/>
                  </a:lnTo>
                  <a:lnTo>
                    <a:pt x="306828" y="255421"/>
                  </a:lnTo>
                  <a:lnTo>
                    <a:pt x="228805" y="314948"/>
                  </a:lnTo>
                  <a:lnTo>
                    <a:pt x="234900" y="324613"/>
                  </a:lnTo>
                  <a:lnTo>
                    <a:pt x="308148" y="268729"/>
                  </a:lnTo>
                  <a:lnTo>
                    <a:pt x="361904" y="285454"/>
                  </a:lnTo>
                  <a:lnTo>
                    <a:pt x="362020" y="285005"/>
                  </a:lnTo>
                  <a:lnTo>
                    <a:pt x="362154" y="285217"/>
                  </a:lnTo>
                  <a:lnTo>
                    <a:pt x="440176" y="225691"/>
                  </a:lnTo>
                  <a:close/>
                  <a:moveTo>
                    <a:pt x="348541" y="183420"/>
                  </a:moveTo>
                  <a:cubicBezTo>
                    <a:pt x="439179" y="183420"/>
                    <a:pt x="512657" y="256898"/>
                    <a:pt x="512657" y="347537"/>
                  </a:cubicBezTo>
                  <a:cubicBezTo>
                    <a:pt x="512657" y="438178"/>
                    <a:pt x="439179" y="511654"/>
                    <a:pt x="348541" y="511654"/>
                  </a:cubicBezTo>
                  <a:cubicBezTo>
                    <a:pt x="257900" y="511654"/>
                    <a:pt x="184422" y="438178"/>
                    <a:pt x="184422" y="347537"/>
                  </a:cubicBezTo>
                  <a:cubicBezTo>
                    <a:pt x="184422" y="256898"/>
                    <a:pt x="257900" y="183420"/>
                    <a:pt x="348541" y="183420"/>
                  </a:cubicBezTo>
                  <a:close/>
                  <a:moveTo>
                    <a:pt x="348541" y="103185"/>
                  </a:moveTo>
                  <a:cubicBezTo>
                    <a:pt x="213588" y="103185"/>
                    <a:pt x="104187" y="212584"/>
                    <a:pt x="104187" y="347537"/>
                  </a:cubicBezTo>
                  <a:cubicBezTo>
                    <a:pt x="104187" y="482490"/>
                    <a:pt x="213588" y="591889"/>
                    <a:pt x="348541" y="591889"/>
                  </a:cubicBezTo>
                  <a:cubicBezTo>
                    <a:pt x="407663" y="591889"/>
                    <a:pt x="461882" y="570892"/>
                    <a:pt x="504139" y="535939"/>
                  </a:cubicBezTo>
                  <a:lnTo>
                    <a:pt x="553135" y="585493"/>
                  </a:lnTo>
                  <a:lnTo>
                    <a:pt x="548430" y="590159"/>
                  </a:lnTo>
                  <a:lnTo>
                    <a:pt x="548209" y="642628"/>
                  </a:lnTo>
                  <a:lnTo>
                    <a:pt x="613000" y="707968"/>
                  </a:lnTo>
                  <a:lnTo>
                    <a:pt x="707533" y="707968"/>
                  </a:lnTo>
                  <a:lnTo>
                    <a:pt x="707533" y="610394"/>
                  </a:lnTo>
                  <a:lnTo>
                    <a:pt x="644660" y="546988"/>
                  </a:lnTo>
                  <a:lnTo>
                    <a:pt x="592192" y="546765"/>
                  </a:lnTo>
                  <a:lnTo>
                    <a:pt x="585801" y="553102"/>
                  </a:lnTo>
                  <a:lnTo>
                    <a:pt x="536680" y="503421"/>
                  </a:lnTo>
                  <a:cubicBezTo>
                    <a:pt x="571794" y="461133"/>
                    <a:pt x="592892" y="406799"/>
                    <a:pt x="592892" y="347537"/>
                  </a:cubicBezTo>
                  <a:cubicBezTo>
                    <a:pt x="592892" y="212584"/>
                    <a:pt x="483490" y="103185"/>
                    <a:pt x="348541" y="103185"/>
                  </a:cubicBezTo>
                  <a:close/>
                  <a:moveTo>
                    <a:pt x="19730" y="0"/>
                  </a:moveTo>
                  <a:lnTo>
                    <a:pt x="700350" y="0"/>
                  </a:lnTo>
                  <a:cubicBezTo>
                    <a:pt x="711247" y="0"/>
                    <a:pt x="720080" y="8833"/>
                    <a:pt x="720080" y="19730"/>
                  </a:cubicBezTo>
                  <a:lnTo>
                    <a:pt x="720080" y="700350"/>
                  </a:lnTo>
                  <a:cubicBezTo>
                    <a:pt x="720080" y="711247"/>
                    <a:pt x="711247" y="720080"/>
                    <a:pt x="700350" y="720080"/>
                  </a:cubicBezTo>
                  <a:lnTo>
                    <a:pt x="19730" y="720080"/>
                  </a:lnTo>
                  <a:cubicBezTo>
                    <a:pt x="8833" y="720080"/>
                    <a:pt x="0" y="711247"/>
                    <a:pt x="0" y="700350"/>
                  </a:cubicBezTo>
                  <a:lnTo>
                    <a:pt x="0" y="19730"/>
                  </a:lnTo>
                  <a:cubicBezTo>
                    <a:pt x="0" y="8833"/>
                    <a:pt x="8833" y="0"/>
                    <a:pt x="19730" y="0"/>
                  </a:cubicBezTo>
                  <a:close/>
                </a:path>
              </a:pathLst>
            </a:custGeom>
            <a:solidFill>
              <a:srgbClr val="666666"/>
            </a:solidFill>
            <a:ln w="25400" cap="flat" cmpd="sng" algn="ctr">
              <a:noFill/>
              <a:prstDash val="solid"/>
            </a:ln>
            <a:effectLst/>
          </p:spPr>
          <p:txBody>
            <a:bodyPr rtlCol="0" anchor="ctr"/>
            <a:lstStyle/>
            <a:p>
              <a:pPr algn="ctr" fontAlgn="base">
                <a:spcBef>
                  <a:spcPct val="0"/>
                </a:spcBef>
                <a:spcAft>
                  <a:spcPct val="0"/>
                </a:spcAft>
                <a:defRPr/>
              </a:pPr>
              <a:endParaRPr lang="en-US" kern="0">
                <a:solidFill>
                  <a:prstClr val="white"/>
                </a:solidFill>
                <a:latin typeface="Arial"/>
                <a:ea typeface="SimHei"/>
              </a:endParaRPr>
            </a:p>
          </p:txBody>
        </p:sp>
        <p:cxnSp>
          <p:nvCxnSpPr>
            <p:cNvPr id="35" name="Straight Connector 34">
              <a:extLst>
                <a:ext uri="{FF2B5EF4-FFF2-40B4-BE49-F238E27FC236}">
                  <a16:creationId xmlns:a16="http://schemas.microsoft.com/office/drawing/2014/main" id="{19EBC045-C7E5-8616-CE13-A4C55897006C}"/>
                </a:ext>
              </a:extLst>
            </p:cNvPr>
            <p:cNvCxnSpPr/>
            <p:nvPr/>
          </p:nvCxnSpPr>
          <p:spPr>
            <a:xfrm>
              <a:off x="424003" y="4201855"/>
              <a:ext cx="548640" cy="0"/>
            </a:xfrm>
            <a:prstGeom prst="line">
              <a:avLst/>
            </a:prstGeom>
            <a:ln w="82550" cmpd="sng">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sp>
        <p:nvSpPr>
          <p:cNvPr id="37" name="Subtitle 10">
            <a:extLst>
              <a:ext uri="{FF2B5EF4-FFF2-40B4-BE49-F238E27FC236}">
                <a16:creationId xmlns:a16="http://schemas.microsoft.com/office/drawing/2014/main" id="{2AC2FA6B-CC95-ACA8-8C2B-957D26B5734E}"/>
              </a:ext>
            </a:extLst>
          </p:cNvPr>
          <p:cNvSpPr txBox="1">
            <a:spLocks/>
          </p:cNvSpPr>
          <p:nvPr/>
        </p:nvSpPr>
        <p:spPr>
          <a:xfrm>
            <a:off x="881922" y="1107841"/>
            <a:ext cx="10948124" cy="822960"/>
          </a:xfrm>
          <a:prstGeom prst="rect">
            <a:avLst/>
          </a:prstGeom>
          <a:noFill/>
        </p:spPr>
        <p:txBody>
          <a:bodyPr lIns="182880" tIns="0" rIns="91440" bIns="0" anchor="ctr" anchorCtr="0">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j-lt"/>
                <a:ea typeface="+mn-ea"/>
                <a:cs typeface="+mn-cs"/>
              </a:defRPr>
            </a:lvl1pPr>
            <a:lvl2pPr marL="180975" indent="-180975"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2pPr>
            <a:lvl3pPr marL="361950" indent="-180975"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542925" indent="-180975"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714375" indent="-17145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714375" indent="-171450" algn="l" defTabSz="914400" rtl="0" eaLnBrk="1" latinLnBrk="0" hangingPunct="1">
              <a:lnSpc>
                <a:spcPct val="90000"/>
              </a:lnSpc>
              <a:spcBef>
                <a:spcPts val="500"/>
              </a:spcBef>
              <a:buFont typeface="Arial" panose="020B0604020202020204" pitchFamily="34" charset="0"/>
              <a:buChar char="•"/>
              <a:tabLst/>
              <a:defRPr sz="1400" kern="1200">
                <a:solidFill>
                  <a:schemeClr val="tx1"/>
                </a:solidFill>
                <a:latin typeface="+mn-lt"/>
                <a:ea typeface="+mn-ea"/>
                <a:cs typeface="+mn-cs"/>
              </a:defRPr>
            </a:lvl6pPr>
            <a:lvl7pPr marL="714375" indent="-171450" algn="l" defTabSz="914400" rtl="0" eaLnBrk="1" latinLnBrk="0" hangingPunct="1">
              <a:lnSpc>
                <a:spcPct val="90000"/>
              </a:lnSpc>
              <a:spcBef>
                <a:spcPts val="500"/>
              </a:spcBef>
              <a:buFont typeface="Arial" panose="020B0604020202020204" pitchFamily="34" charset="0"/>
              <a:buChar char="•"/>
              <a:tabLst/>
              <a:defRPr sz="1400" kern="1200">
                <a:solidFill>
                  <a:schemeClr val="tx1"/>
                </a:solidFill>
                <a:latin typeface="+mn-lt"/>
                <a:ea typeface="+mn-ea"/>
                <a:cs typeface="+mn-cs"/>
              </a:defRPr>
            </a:lvl7pPr>
            <a:lvl8pPr marL="714375" indent="-171450" algn="l" defTabSz="914400" rtl="0" eaLnBrk="1" latinLnBrk="0" hangingPunct="1">
              <a:lnSpc>
                <a:spcPct val="90000"/>
              </a:lnSpc>
              <a:spcBef>
                <a:spcPts val="500"/>
              </a:spcBef>
              <a:buFont typeface="Arial" panose="020B0604020202020204" pitchFamily="34" charset="0"/>
              <a:buChar char="•"/>
              <a:tabLst/>
              <a:defRPr sz="1400" kern="1200">
                <a:solidFill>
                  <a:schemeClr val="tx1"/>
                </a:solidFill>
                <a:latin typeface="+mn-lt"/>
                <a:ea typeface="+mn-ea"/>
                <a:cs typeface="+mn-cs"/>
              </a:defRPr>
            </a:lvl8pPr>
            <a:lvl9pPr marL="714375" indent="-171450" algn="l" defTabSz="914400" rtl="0" eaLnBrk="1" latinLnBrk="0" hangingPunct="1">
              <a:lnSpc>
                <a:spcPct val="90000"/>
              </a:lnSpc>
              <a:spcBef>
                <a:spcPts val="500"/>
              </a:spcBef>
              <a:buFont typeface="Arial" panose="020B0604020202020204" pitchFamily="34" charset="0"/>
              <a:buChar char="•"/>
              <a:tabLst/>
              <a:defRPr sz="1400" kern="1200">
                <a:solidFill>
                  <a:schemeClr val="tx1"/>
                </a:solidFill>
                <a:latin typeface="+mn-lt"/>
                <a:ea typeface="+mn-ea"/>
                <a:cs typeface="+mn-cs"/>
              </a:defRPr>
            </a:lvl9pPr>
          </a:lstStyle>
          <a:p>
            <a:pPr marL="0" indent="0">
              <a:lnSpc>
                <a:spcPct val="100000"/>
              </a:lnSpc>
              <a:spcBef>
                <a:spcPts val="0"/>
              </a:spcBef>
              <a:buNone/>
            </a:pPr>
            <a:r>
              <a:rPr lang="en-US" sz="1800" dirty="0"/>
              <a:t>HIV and TB may not be ended as epidemics by 2030 in Lao PDR if the current trend continues</a:t>
            </a:r>
          </a:p>
        </p:txBody>
      </p:sp>
      <p:sp>
        <p:nvSpPr>
          <p:cNvPr id="38" name="Subtitle 10">
            <a:extLst>
              <a:ext uri="{FF2B5EF4-FFF2-40B4-BE49-F238E27FC236}">
                <a16:creationId xmlns:a16="http://schemas.microsoft.com/office/drawing/2014/main" id="{73D08ACA-4934-77FC-1C8E-2EC47EF3E760}"/>
              </a:ext>
            </a:extLst>
          </p:cNvPr>
          <p:cNvSpPr txBox="1">
            <a:spLocks/>
          </p:cNvSpPr>
          <p:nvPr/>
        </p:nvSpPr>
        <p:spPr>
          <a:xfrm>
            <a:off x="881922" y="3704643"/>
            <a:ext cx="10948124" cy="822960"/>
          </a:xfrm>
          <a:prstGeom prst="rect">
            <a:avLst/>
          </a:prstGeom>
          <a:noFill/>
        </p:spPr>
        <p:txBody>
          <a:bodyPr lIns="182880" tIns="0" rIns="91440" bIns="0" anchor="ctr" anchorCtr="0">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j-lt"/>
                <a:ea typeface="+mn-ea"/>
                <a:cs typeface="+mn-cs"/>
              </a:defRPr>
            </a:lvl1pPr>
            <a:lvl2pPr marL="180975" indent="-180975"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2pPr>
            <a:lvl3pPr marL="361950" indent="-180975"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542925" indent="-180975"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714375" indent="-17145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714375" indent="-171450" algn="l" defTabSz="914400" rtl="0" eaLnBrk="1" latinLnBrk="0" hangingPunct="1">
              <a:lnSpc>
                <a:spcPct val="90000"/>
              </a:lnSpc>
              <a:spcBef>
                <a:spcPts val="500"/>
              </a:spcBef>
              <a:buFont typeface="Arial" panose="020B0604020202020204" pitchFamily="34" charset="0"/>
              <a:buChar char="•"/>
              <a:tabLst/>
              <a:defRPr sz="1400" kern="1200">
                <a:solidFill>
                  <a:schemeClr val="tx1"/>
                </a:solidFill>
                <a:latin typeface="+mn-lt"/>
                <a:ea typeface="+mn-ea"/>
                <a:cs typeface="+mn-cs"/>
              </a:defRPr>
            </a:lvl6pPr>
            <a:lvl7pPr marL="714375" indent="-171450" algn="l" defTabSz="914400" rtl="0" eaLnBrk="1" latinLnBrk="0" hangingPunct="1">
              <a:lnSpc>
                <a:spcPct val="90000"/>
              </a:lnSpc>
              <a:spcBef>
                <a:spcPts val="500"/>
              </a:spcBef>
              <a:buFont typeface="Arial" panose="020B0604020202020204" pitchFamily="34" charset="0"/>
              <a:buChar char="•"/>
              <a:tabLst/>
              <a:defRPr sz="1400" kern="1200">
                <a:solidFill>
                  <a:schemeClr val="tx1"/>
                </a:solidFill>
                <a:latin typeface="+mn-lt"/>
                <a:ea typeface="+mn-ea"/>
                <a:cs typeface="+mn-cs"/>
              </a:defRPr>
            </a:lvl7pPr>
            <a:lvl8pPr marL="714375" indent="-171450" algn="l" defTabSz="914400" rtl="0" eaLnBrk="1" latinLnBrk="0" hangingPunct="1">
              <a:lnSpc>
                <a:spcPct val="90000"/>
              </a:lnSpc>
              <a:spcBef>
                <a:spcPts val="500"/>
              </a:spcBef>
              <a:buFont typeface="Arial" panose="020B0604020202020204" pitchFamily="34" charset="0"/>
              <a:buChar char="•"/>
              <a:tabLst/>
              <a:defRPr sz="1400" kern="1200">
                <a:solidFill>
                  <a:schemeClr val="tx1"/>
                </a:solidFill>
                <a:latin typeface="+mn-lt"/>
                <a:ea typeface="+mn-ea"/>
                <a:cs typeface="+mn-cs"/>
              </a:defRPr>
            </a:lvl8pPr>
            <a:lvl9pPr marL="714375" indent="-171450" algn="l" defTabSz="914400" rtl="0" eaLnBrk="1" latinLnBrk="0" hangingPunct="1">
              <a:lnSpc>
                <a:spcPct val="90000"/>
              </a:lnSpc>
              <a:spcBef>
                <a:spcPts val="500"/>
              </a:spcBef>
              <a:buFont typeface="Arial" panose="020B0604020202020204" pitchFamily="34" charset="0"/>
              <a:buChar char="•"/>
              <a:tabLst/>
              <a:defRPr sz="1400" kern="1200">
                <a:solidFill>
                  <a:schemeClr val="tx1"/>
                </a:solidFill>
                <a:latin typeface="+mn-lt"/>
                <a:ea typeface="+mn-ea"/>
                <a:cs typeface="+mn-cs"/>
              </a:defRPr>
            </a:lvl9pPr>
          </a:lstStyle>
          <a:p>
            <a:pPr marL="0" indent="0" algn="just">
              <a:buNone/>
            </a:pPr>
            <a:r>
              <a:rPr lang="en-US" sz="1800"/>
              <a:t>Challenges associated with sustainability and co-financing</a:t>
            </a:r>
          </a:p>
        </p:txBody>
      </p:sp>
      <p:sp>
        <p:nvSpPr>
          <p:cNvPr id="40" name="Rectangle 39">
            <a:extLst>
              <a:ext uri="{FF2B5EF4-FFF2-40B4-BE49-F238E27FC236}">
                <a16:creationId xmlns:a16="http://schemas.microsoft.com/office/drawing/2014/main" id="{9FA58745-CC7C-6CEC-7384-B198DC2B0047}"/>
              </a:ext>
            </a:extLst>
          </p:cNvPr>
          <p:cNvSpPr/>
          <p:nvPr/>
        </p:nvSpPr>
        <p:spPr>
          <a:xfrm>
            <a:off x="276225" y="2349797"/>
            <a:ext cx="11555413" cy="855358"/>
          </a:xfrm>
          <a:prstGeom prst="rect">
            <a:avLst/>
          </a:prstGeom>
          <a:no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7" name="Rectangle 46">
            <a:extLst>
              <a:ext uri="{FF2B5EF4-FFF2-40B4-BE49-F238E27FC236}">
                <a16:creationId xmlns:a16="http://schemas.microsoft.com/office/drawing/2014/main" id="{50EB42CC-00E4-8373-1EA9-7DE8AC8BFD56}"/>
              </a:ext>
            </a:extLst>
          </p:cNvPr>
          <p:cNvSpPr/>
          <p:nvPr/>
        </p:nvSpPr>
        <p:spPr>
          <a:xfrm>
            <a:off x="274636" y="1067308"/>
            <a:ext cx="11555413" cy="855358"/>
          </a:xfrm>
          <a:prstGeom prst="rect">
            <a:avLst/>
          </a:prstGeom>
          <a:no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8" name="Rectangle 47">
            <a:extLst>
              <a:ext uri="{FF2B5EF4-FFF2-40B4-BE49-F238E27FC236}">
                <a16:creationId xmlns:a16="http://schemas.microsoft.com/office/drawing/2014/main" id="{FB5BA3B3-2706-3076-2E05-794987A9D1F5}"/>
              </a:ext>
            </a:extLst>
          </p:cNvPr>
          <p:cNvSpPr/>
          <p:nvPr/>
        </p:nvSpPr>
        <p:spPr>
          <a:xfrm>
            <a:off x="274633" y="3694446"/>
            <a:ext cx="11555413" cy="855358"/>
          </a:xfrm>
          <a:prstGeom prst="rect">
            <a:avLst/>
          </a:prstGeom>
          <a:no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custDataLst>
      <p:custData r:id="rId1"/>
      <p:custData r:id="rId2"/>
    </p:custDataLst>
    <p:extLst>
      <p:ext uri="{BB962C8B-B14F-4D97-AF65-F5344CB8AC3E}">
        <p14:creationId xmlns:p14="http://schemas.microsoft.com/office/powerpoint/2010/main" val="412391599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Subtitle 10"/>
          <p:cNvSpPr>
            <a:spLocks noGrp="1"/>
          </p:cNvSpPr>
          <p:nvPr>
            <p:ph type="subTitle" idx="16"/>
          </p:nvPr>
        </p:nvSpPr>
        <p:spPr>
          <a:xfrm>
            <a:off x="6436623" y="820586"/>
            <a:ext cx="5367831" cy="457200"/>
          </a:xfrm>
        </p:spPr>
        <p:txBody>
          <a:bodyPr>
            <a:noAutofit/>
          </a:bodyPr>
          <a:lstStyle/>
          <a:p>
            <a:r>
              <a:rPr lang="en-US" sz="2400" b="1">
                <a:solidFill>
                  <a:schemeClr val="tx1"/>
                </a:solidFill>
              </a:rPr>
              <a:t>AUDIT OBJECTIVE #1</a:t>
            </a:r>
            <a:endParaRPr lang="fr-FR" sz="2400" b="1">
              <a:solidFill>
                <a:schemeClr val="tx1"/>
              </a:solidFill>
            </a:endParaRPr>
          </a:p>
        </p:txBody>
      </p:sp>
      <p:sp>
        <p:nvSpPr>
          <p:cNvPr id="4" name="TextBox 3"/>
          <p:cNvSpPr txBox="1"/>
          <p:nvPr/>
        </p:nvSpPr>
        <p:spPr>
          <a:xfrm>
            <a:off x="6406056" y="1249211"/>
            <a:ext cx="5566869" cy="646331"/>
          </a:xfrm>
          <a:prstGeom prst="rect">
            <a:avLst/>
          </a:prstGeom>
          <a:noFill/>
        </p:spPr>
        <p:txBody>
          <a:bodyPr wrap="square" lIns="0" rtlCol="0">
            <a:spAutoFit/>
          </a:bodyPr>
          <a:lstStyle/>
          <a:p>
            <a:r>
              <a:rPr lang="en-US">
                <a:solidFill>
                  <a:srgbClr val="000000"/>
                </a:solidFill>
                <a:latin typeface="Arial" panose="020B0604020202020204" pitchFamily="34" charset="0"/>
              </a:rPr>
              <a:t>T</a:t>
            </a:r>
            <a:r>
              <a:rPr lang="en-US" sz="1800" b="0" i="0" u="none" strike="noStrike" baseline="0">
                <a:solidFill>
                  <a:srgbClr val="000000"/>
                </a:solidFill>
                <a:latin typeface="Arial" panose="020B0604020202020204" pitchFamily="34" charset="0"/>
              </a:rPr>
              <a:t>he implementation modalities of the TB and HIV grants to ensure the achievement of grant objectives</a:t>
            </a:r>
            <a:endParaRPr lang="en-US" sz="1800">
              <a:solidFill>
                <a:prstClr val="black"/>
              </a:solidFill>
              <a:latin typeface="Arial"/>
            </a:endParaRPr>
          </a:p>
        </p:txBody>
      </p:sp>
      <p:grpSp>
        <p:nvGrpSpPr>
          <p:cNvPr id="21" name="Group 20"/>
          <p:cNvGrpSpPr/>
          <p:nvPr/>
        </p:nvGrpSpPr>
        <p:grpSpPr>
          <a:xfrm>
            <a:off x="418113" y="808908"/>
            <a:ext cx="3671717" cy="1665547"/>
            <a:chOff x="749260" y="702266"/>
            <a:chExt cx="3671717" cy="1665547"/>
          </a:xfrm>
        </p:grpSpPr>
        <p:sp>
          <p:nvSpPr>
            <p:cNvPr id="22" name="Rectangle 85"/>
            <p:cNvSpPr>
              <a:spLocks noChangeAspect="1"/>
            </p:cNvSpPr>
            <p:nvPr/>
          </p:nvSpPr>
          <p:spPr>
            <a:xfrm>
              <a:off x="2755430" y="702266"/>
              <a:ext cx="1665547" cy="1665547"/>
            </a:xfrm>
            <a:custGeom>
              <a:avLst/>
              <a:gdLst/>
              <a:ahLst/>
              <a:cxnLst/>
              <a:rect l="l" t="t" r="r" b="b"/>
              <a:pathLst>
                <a:path w="720080" h="720080">
                  <a:moveTo>
                    <a:pt x="249590" y="392193"/>
                  </a:moveTo>
                  <a:lnTo>
                    <a:pt x="249590" y="447711"/>
                  </a:lnTo>
                  <a:lnTo>
                    <a:pt x="287444" y="447711"/>
                  </a:lnTo>
                  <a:lnTo>
                    <a:pt x="287444" y="392193"/>
                  </a:lnTo>
                  <a:close/>
                  <a:moveTo>
                    <a:pt x="325305" y="336662"/>
                  </a:moveTo>
                  <a:lnTo>
                    <a:pt x="325305" y="447711"/>
                  </a:lnTo>
                  <a:lnTo>
                    <a:pt x="363159" y="447711"/>
                  </a:lnTo>
                  <a:lnTo>
                    <a:pt x="363159" y="336662"/>
                  </a:lnTo>
                  <a:close/>
                  <a:moveTo>
                    <a:pt x="401021" y="281138"/>
                  </a:moveTo>
                  <a:lnTo>
                    <a:pt x="401021" y="447711"/>
                  </a:lnTo>
                  <a:lnTo>
                    <a:pt x="438874" y="447711"/>
                  </a:lnTo>
                  <a:lnTo>
                    <a:pt x="438874" y="281138"/>
                  </a:lnTo>
                  <a:close/>
                  <a:moveTo>
                    <a:pt x="434082" y="216025"/>
                  </a:moveTo>
                  <a:lnTo>
                    <a:pt x="359914" y="272611"/>
                  </a:lnTo>
                  <a:lnTo>
                    <a:pt x="307356" y="256258"/>
                  </a:lnTo>
                  <a:lnTo>
                    <a:pt x="306828" y="255421"/>
                  </a:lnTo>
                  <a:lnTo>
                    <a:pt x="228805" y="314948"/>
                  </a:lnTo>
                  <a:lnTo>
                    <a:pt x="234900" y="324613"/>
                  </a:lnTo>
                  <a:lnTo>
                    <a:pt x="308148" y="268729"/>
                  </a:lnTo>
                  <a:lnTo>
                    <a:pt x="361904" y="285454"/>
                  </a:lnTo>
                  <a:lnTo>
                    <a:pt x="362020" y="285005"/>
                  </a:lnTo>
                  <a:lnTo>
                    <a:pt x="362154" y="285217"/>
                  </a:lnTo>
                  <a:lnTo>
                    <a:pt x="440176" y="225691"/>
                  </a:lnTo>
                  <a:close/>
                  <a:moveTo>
                    <a:pt x="348541" y="183420"/>
                  </a:moveTo>
                  <a:cubicBezTo>
                    <a:pt x="439179" y="183420"/>
                    <a:pt x="512657" y="256898"/>
                    <a:pt x="512657" y="347537"/>
                  </a:cubicBezTo>
                  <a:cubicBezTo>
                    <a:pt x="512657" y="438178"/>
                    <a:pt x="439179" y="511654"/>
                    <a:pt x="348541" y="511654"/>
                  </a:cubicBezTo>
                  <a:cubicBezTo>
                    <a:pt x="257900" y="511654"/>
                    <a:pt x="184422" y="438178"/>
                    <a:pt x="184422" y="347537"/>
                  </a:cubicBezTo>
                  <a:cubicBezTo>
                    <a:pt x="184422" y="256898"/>
                    <a:pt x="257900" y="183420"/>
                    <a:pt x="348541" y="183420"/>
                  </a:cubicBezTo>
                  <a:close/>
                  <a:moveTo>
                    <a:pt x="348541" y="103185"/>
                  </a:moveTo>
                  <a:cubicBezTo>
                    <a:pt x="213588" y="103185"/>
                    <a:pt x="104187" y="212584"/>
                    <a:pt x="104187" y="347537"/>
                  </a:cubicBezTo>
                  <a:cubicBezTo>
                    <a:pt x="104187" y="482490"/>
                    <a:pt x="213588" y="591889"/>
                    <a:pt x="348541" y="591889"/>
                  </a:cubicBezTo>
                  <a:cubicBezTo>
                    <a:pt x="407663" y="591889"/>
                    <a:pt x="461882" y="570892"/>
                    <a:pt x="504139" y="535939"/>
                  </a:cubicBezTo>
                  <a:lnTo>
                    <a:pt x="553135" y="585493"/>
                  </a:lnTo>
                  <a:lnTo>
                    <a:pt x="548430" y="590159"/>
                  </a:lnTo>
                  <a:lnTo>
                    <a:pt x="548209" y="642628"/>
                  </a:lnTo>
                  <a:lnTo>
                    <a:pt x="613000" y="707968"/>
                  </a:lnTo>
                  <a:lnTo>
                    <a:pt x="707533" y="707968"/>
                  </a:lnTo>
                  <a:lnTo>
                    <a:pt x="707533" y="610394"/>
                  </a:lnTo>
                  <a:lnTo>
                    <a:pt x="644660" y="546988"/>
                  </a:lnTo>
                  <a:lnTo>
                    <a:pt x="592192" y="546765"/>
                  </a:lnTo>
                  <a:lnTo>
                    <a:pt x="585801" y="553102"/>
                  </a:lnTo>
                  <a:lnTo>
                    <a:pt x="536680" y="503421"/>
                  </a:lnTo>
                  <a:cubicBezTo>
                    <a:pt x="571794" y="461133"/>
                    <a:pt x="592892" y="406799"/>
                    <a:pt x="592892" y="347537"/>
                  </a:cubicBezTo>
                  <a:cubicBezTo>
                    <a:pt x="592892" y="212584"/>
                    <a:pt x="483490" y="103185"/>
                    <a:pt x="348541" y="103185"/>
                  </a:cubicBezTo>
                  <a:close/>
                  <a:moveTo>
                    <a:pt x="19730" y="0"/>
                  </a:moveTo>
                  <a:lnTo>
                    <a:pt x="700350" y="0"/>
                  </a:lnTo>
                  <a:cubicBezTo>
                    <a:pt x="711247" y="0"/>
                    <a:pt x="720080" y="8833"/>
                    <a:pt x="720080" y="19730"/>
                  </a:cubicBezTo>
                  <a:lnTo>
                    <a:pt x="720080" y="700350"/>
                  </a:lnTo>
                  <a:cubicBezTo>
                    <a:pt x="720080" y="711247"/>
                    <a:pt x="711247" y="720080"/>
                    <a:pt x="700350" y="720080"/>
                  </a:cubicBezTo>
                  <a:lnTo>
                    <a:pt x="19730" y="720080"/>
                  </a:lnTo>
                  <a:cubicBezTo>
                    <a:pt x="8833" y="720080"/>
                    <a:pt x="0" y="711247"/>
                    <a:pt x="0" y="700350"/>
                  </a:cubicBezTo>
                  <a:lnTo>
                    <a:pt x="0" y="19730"/>
                  </a:lnTo>
                  <a:cubicBezTo>
                    <a:pt x="0" y="8833"/>
                    <a:pt x="8833" y="0"/>
                    <a:pt x="19730" y="0"/>
                  </a:cubicBezTo>
                  <a:close/>
                </a:path>
              </a:pathLst>
            </a:custGeom>
            <a:solidFill>
              <a:sysClr val="window" lastClr="FFFFFF">
                <a:lumMod val="85000"/>
              </a:sysClr>
            </a:solidFill>
            <a:ln w="25400" cap="flat" cmpd="sng" algn="ctr">
              <a:noFill/>
              <a:prstDash val="solid"/>
            </a:ln>
            <a:effectLst/>
          </p:spPr>
          <p:txBody>
            <a:bodyPr rtlCol="0" anchor="ctr"/>
            <a:lstStyle/>
            <a:p>
              <a:pPr algn="ctr" fontAlgn="base">
                <a:spcBef>
                  <a:spcPct val="0"/>
                </a:spcBef>
                <a:spcAft>
                  <a:spcPct val="0"/>
                </a:spcAft>
                <a:defRPr/>
              </a:pPr>
              <a:endParaRPr lang="en-US" kern="0">
                <a:solidFill>
                  <a:prstClr val="white"/>
                </a:solidFill>
                <a:latin typeface="Arial"/>
                <a:ea typeface="SimHei"/>
              </a:endParaRPr>
            </a:p>
          </p:txBody>
        </p:sp>
        <p:sp>
          <p:nvSpPr>
            <p:cNvPr id="24" name="Rectangle 85"/>
            <p:cNvSpPr>
              <a:spLocks noChangeAspect="1"/>
            </p:cNvSpPr>
            <p:nvPr/>
          </p:nvSpPr>
          <p:spPr>
            <a:xfrm>
              <a:off x="749260" y="702266"/>
              <a:ext cx="1665547" cy="1665547"/>
            </a:xfrm>
            <a:custGeom>
              <a:avLst/>
              <a:gdLst/>
              <a:ahLst/>
              <a:cxnLst/>
              <a:rect l="l" t="t" r="r" b="b"/>
              <a:pathLst>
                <a:path w="720080" h="720080">
                  <a:moveTo>
                    <a:pt x="327386" y="329590"/>
                  </a:moveTo>
                  <a:lnTo>
                    <a:pt x="392694" y="329590"/>
                  </a:lnTo>
                  <a:lnTo>
                    <a:pt x="392694" y="386202"/>
                  </a:lnTo>
                  <a:lnTo>
                    <a:pt x="449306" y="386202"/>
                  </a:lnTo>
                  <a:lnTo>
                    <a:pt x="449306" y="451445"/>
                  </a:lnTo>
                  <a:lnTo>
                    <a:pt x="392694" y="451445"/>
                  </a:lnTo>
                  <a:lnTo>
                    <a:pt x="392694" y="508057"/>
                  </a:lnTo>
                  <a:lnTo>
                    <a:pt x="327386" y="508057"/>
                  </a:lnTo>
                  <a:lnTo>
                    <a:pt x="327386" y="451445"/>
                  </a:lnTo>
                  <a:lnTo>
                    <a:pt x="270774" y="451445"/>
                  </a:lnTo>
                  <a:lnTo>
                    <a:pt x="270774" y="386202"/>
                  </a:lnTo>
                  <a:lnTo>
                    <a:pt x="327386" y="386202"/>
                  </a:lnTo>
                  <a:close/>
                  <a:moveTo>
                    <a:pt x="296104" y="177128"/>
                  </a:moveTo>
                  <a:lnTo>
                    <a:pt x="424057" y="177128"/>
                  </a:lnTo>
                  <a:lnTo>
                    <a:pt x="424057" y="236939"/>
                  </a:lnTo>
                  <a:lnTo>
                    <a:pt x="296104" y="236939"/>
                  </a:lnTo>
                  <a:close/>
                  <a:moveTo>
                    <a:pt x="262913" y="143937"/>
                  </a:moveTo>
                  <a:lnTo>
                    <a:pt x="262913" y="238764"/>
                  </a:lnTo>
                  <a:lnTo>
                    <a:pt x="136088" y="238764"/>
                  </a:lnTo>
                  <a:cubicBezTo>
                    <a:pt x="120582" y="238764"/>
                    <a:pt x="108012" y="251334"/>
                    <a:pt x="108012" y="266840"/>
                  </a:cubicBezTo>
                  <a:lnTo>
                    <a:pt x="108012" y="570728"/>
                  </a:lnTo>
                  <a:cubicBezTo>
                    <a:pt x="108012" y="586234"/>
                    <a:pt x="120582" y="598804"/>
                    <a:pt x="136088" y="598804"/>
                  </a:cubicBezTo>
                  <a:lnTo>
                    <a:pt x="583992" y="598804"/>
                  </a:lnTo>
                  <a:cubicBezTo>
                    <a:pt x="599498" y="598804"/>
                    <a:pt x="612068" y="586234"/>
                    <a:pt x="612068" y="570728"/>
                  </a:cubicBezTo>
                  <a:lnTo>
                    <a:pt x="612068" y="266840"/>
                  </a:lnTo>
                  <a:cubicBezTo>
                    <a:pt x="612068" y="251334"/>
                    <a:pt x="599498" y="238764"/>
                    <a:pt x="583992" y="238764"/>
                  </a:cubicBezTo>
                  <a:lnTo>
                    <a:pt x="457248" y="238764"/>
                  </a:lnTo>
                  <a:lnTo>
                    <a:pt x="457248" y="143937"/>
                  </a:lnTo>
                  <a:close/>
                  <a:moveTo>
                    <a:pt x="19730" y="0"/>
                  </a:moveTo>
                  <a:lnTo>
                    <a:pt x="700350" y="0"/>
                  </a:lnTo>
                  <a:cubicBezTo>
                    <a:pt x="711247" y="0"/>
                    <a:pt x="720080" y="8833"/>
                    <a:pt x="720080" y="19730"/>
                  </a:cubicBezTo>
                  <a:lnTo>
                    <a:pt x="720080" y="700350"/>
                  </a:lnTo>
                  <a:cubicBezTo>
                    <a:pt x="720080" y="711247"/>
                    <a:pt x="711247" y="720080"/>
                    <a:pt x="700350" y="720080"/>
                  </a:cubicBezTo>
                  <a:lnTo>
                    <a:pt x="19730" y="720080"/>
                  </a:lnTo>
                  <a:cubicBezTo>
                    <a:pt x="8833" y="720080"/>
                    <a:pt x="0" y="711247"/>
                    <a:pt x="0" y="700350"/>
                  </a:cubicBezTo>
                  <a:lnTo>
                    <a:pt x="0" y="19730"/>
                  </a:lnTo>
                  <a:cubicBezTo>
                    <a:pt x="0" y="8833"/>
                    <a:pt x="8833" y="0"/>
                    <a:pt x="19730" y="0"/>
                  </a:cubicBezTo>
                  <a:close/>
                </a:path>
              </a:pathLst>
            </a:custGeom>
            <a:solidFill>
              <a:srgbClr val="666666"/>
            </a:solidFill>
            <a:ln w="25400" cap="flat" cmpd="sng" algn="ctr">
              <a:noFill/>
              <a:prstDash val="solid"/>
            </a:ln>
            <a:effectLst/>
          </p:spPr>
          <p:txBody>
            <a:bodyPr rtlCol="0" anchor="ctr"/>
            <a:lstStyle/>
            <a:p>
              <a:pPr algn="ctr" fontAlgn="base">
                <a:spcBef>
                  <a:spcPct val="0"/>
                </a:spcBef>
                <a:spcAft>
                  <a:spcPct val="0"/>
                </a:spcAft>
                <a:defRPr/>
              </a:pPr>
              <a:endParaRPr lang="en-US" kern="0">
                <a:solidFill>
                  <a:prstClr val="white"/>
                </a:solidFill>
                <a:latin typeface="Arial"/>
                <a:ea typeface="SimHei"/>
              </a:endParaRPr>
            </a:p>
          </p:txBody>
        </p:sp>
      </p:grpSp>
      <p:cxnSp>
        <p:nvCxnSpPr>
          <p:cNvPr id="3" name="Straight Connector 2"/>
          <p:cNvCxnSpPr>
            <a:cxnSpLocks/>
          </p:cNvCxnSpPr>
          <p:nvPr/>
        </p:nvCxnSpPr>
        <p:spPr>
          <a:xfrm>
            <a:off x="418113" y="2590057"/>
            <a:ext cx="11554812" cy="0"/>
          </a:xfrm>
          <a:prstGeom prst="line">
            <a:avLst/>
          </a:prstGeom>
          <a:ln w="50800">
            <a:solidFill>
              <a:schemeClr val="tx1">
                <a:lumMod val="50000"/>
                <a:lumOff val="50000"/>
              </a:schemeClr>
            </a:solidFill>
          </a:ln>
          <a:effectLst/>
        </p:spPr>
        <p:style>
          <a:lnRef idx="1">
            <a:schemeClr val="accent1"/>
          </a:lnRef>
          <a:fillRef idx="0">
            <a:schemeClr val="accent1"/>
          </a:fillRef>
          <a:effectRef idx="0">
            <a:schemeClr val="accent1"/>
          </a:effectRef>
          <a:fontRef idx="minor">
            <a:schemeClr val="tx1"/>
          </a:fontRef>
        </p:style>
      </p:cxnSp>
      <p:sp>
        <p:nvSpPr>
          <p:cNvPr id="2" name="TextBox 1">
            <a:extLst>
              <a:ext uri="{FF2B5EF4-FFF2-40B4-BE49-F238E27FC236}">
                <a16:creationId xmlns:a16="http://schemas.microsoft.com/office/drawing/2014/main" id="{F66A2A1F-E3F5-E21C-1940-96FB8688CC75}"/>
              </a:ext>
            </a:extLst>
          </p:cNvPr>
          <p:cNvSpPr txBox="1"/>
          <p:nvPr/>
        </p:nvSpPr>
        <p:spPr>
          <a:xfrm>
            <a:off x="691131" y="3834137"/>
            <a:ext cx="11259492" cy="2616101"/>
          </a:xfrm>
          <a:prstGeom prst="rect">
            <a:avLst/>
          </a:prstGeom>
          <a:noFill/>
        </p:spPr>
        <p:txBody>
          <a:bodyPr wrap="square" lIns="0" rtlCol="0">
            <a:spAutoFit/>
          </a:bodyPr>
          <a:lstStyle/>
          <a:p>
            <a:pPr marL="342900" indent="-342900">
              <a:spcAft>
                <a:spcPts val="600"/>
              </a:spcAft>
              <a:buFont typeface="Wingdings" panose="05000000000000000000" pitchFamily="2" charset="2"/>
              <a:buChar char="§"/>
            </a:pPr>
            <a:r>
              <a:rPr lang="en-GB" sz="1800" dirty="0"/>
              <a:t>Limited integration of TB and HIV services with primary healthcare </a:t>
            </a:r>
          </a:p>
          <a:p>
            <a:pPr marL="342900" indent="-342900">
              <a:spcAft>
                <a:spcPts val="600"/>
              </a:spcAft>
              <a:buFont typeface="Wingdings" panose="05000000000000000000" pitchFamily="2" charset="2"/>
              <a:buChar char="§"/>
            </a:pPr>
            <a:r>
              <a:rPr lang="en-GB" sz="1800" dirty="0">
                <a:solidFill>
                  <a:schemeClr val="tx1"/>
                </a:solidFill>
              </a:rPr>
              <a:t>The absence of comprehensive, accurate, and standardized data, compounded by challenges </a:t>
            </a:r>
            <a:r>
              <a:rPr lang="en-GB" sz="1800" dirty="0"/>
              <a:t>incl.</a:t>
            </a:r>
            <a:r>
              <a:rPr lang="en-GB" sz="1800" dirty="0">
                <a:solidFill>
                  <a:schemeClr val="tx1"/>
                </a:solidFill>
              </a:rPr>
              <a:t> limited staff capacity and manual entry errors</a:t>
            </a:r>
            <a:r>
              <a:rPr lang="en-US" sz="1800" b="1" dirty="0">
                <a:solidFill>
                  <a:prstClr val="black"/>
                </a:solidFill>
                <a:cs typeface="Arial" panose="020B0604020202020204" pitchFamily="34" charset="0"/>
              </a:rPr>
              <a:t> </a:t>
            </a:r>
          </a:p>
          <a:p>
            <a:pPr marL="342900" indent="-342900">
              <a:spcAft>
                <a:spcPts val="600"/>
              </a:spcAft>
              <a:buFont typeface="Wingdings" panose="05000000000000000000" pitchFamily="2" charset="2"/>
              <a:buChar char="§"/>
            </a:pPr>
            <a:r>
              <a:rPr lang="en-GB" sz="1800" dirty="0"/>
              <a:t>Increasing incidence of HIV, particularly among Men who have Sex with Men (MSM)</a:t>
            </a:r>
          </a:p>
          <a:p>
            <a:pPr marL="342900" indent="-342900">
              <a:spcAft>
                <a:spcPts val="600"/>
              </a:spcAft>
              <a:buFont typeface="Wingdings" panose="05000000000000000000" pitchFamily="2" charset="2"/>
              <a:buChar char="§"/>
            </a:pPr>
            <a:r>
              <a:rPr lang="en-GB" sz="1800" dirty="0"/>
              <a:t>HIV treatment coverage and quality </a:t>
            </a:r>
          </a:p>
          <a:p>
            <a:pPr marL="342900" indent="-342900">
              <a:spcAft>
                <a:spcPts val="600"/>
              </a:spcAft>
              <a:buFont typeface="Wingdings" panose="05000000000000000000" pitchFamily="2" charset="2"/>
              <a:buChar char="§"/>
            </a:pPr>
            <a:r>
              <a:rPr lang="en-GB" sz="1800" dirty="0">
                <a:solidFill>
                  <a:schemeClr val="tx1"/>
                </a:solidFill>
              </a:rPr>
              <a:t>Significant challenges in TB detection, including the absence of standardized specimen collection and transportation systems, low case notifications, missed cases, shortage of GeneXpert machines, and limited resources for follow-up and verification</a:t>
            </a:r>
            <a:endParaRPr lang="en-US" dirty="0"/>
          </a:p>
        </p:txBody>
      </p:sp>
      <p:sp>
        <p:nvSpPr>
          <p:cNvPr id="25" name="Rectangle 24">
            <a:extLst>
              <a:ext uri="{FF2B5EF4-FFF2-40B4-BE49-F238E27FC236}">
                <a16:creationId xmlns:a16="http://schemas.microsoft.com/office/drawing/2014/main" id="{EEEC5829-68CB-1BB2-549D-7D6EC165DDEC}"/>
              </a:ext>
            </a:extLst>
          </p:cNvPr>
          <p:cNvSpPr/>
          <p:nvPr/>
        </p:nvSpPr>
        <p:spPr>
          <a:xfrm>
            <a:off x="418113" y="3804791"/>
            <a:ext cx="11654631" cy="2547883"/>
          </a:xfrm>
          <a:prstGeom prst="rect">
            <a:avLst/>
          </a:prstGeom>
          <a:no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Rectangle 25">
            <a:extLst>
              <a:ext uri="{FF2B5EF4-FFF2-40B4-BE49-F238E27FC236}">
                <a16:creationId xmlns:a16="http://schemas.microsoft.com/office/drawing/2014/main" id="{E59CD001-47C5-619F-6634-E4D6704D252C}"/>
              </a:ext>
            </a:extLst>
          </p:cNvPr>
          <p:cNvSpPr/>
          <p:nvPr/>
        </p:nvSpPr>
        <p:spPr>
          <a:xfrm>
            <a:off x="418113" y="2767183"/>
            <a:ext cx="11654631" cy="855358"/>
          </a:xfrm>
          <a:prstGeom prst="rect">
            <a:avLst/>
          </a:prstGeom>
          <a:no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extBox 9">
            <a:extLst>
              <a:ext uri="{FF2B5EF4-FFF2-40B4-BE49-F238E27FC236}">
                <a16:creationId xmlns:a16="http://schemas.microsoft.com/office/drawing/2014/main" id="{8E73226F-AEB6-7923-FEFF-635631789D53}"/>
              </a:ext>
            </a:extLst>
          </p:cNvPr>
          <p:cNvSpPr txBox="1"/>
          <p:nvPr/>
        </p:nvSpPr>
        <p:spPr>
          <a:xfrm>
            <a:off x="520903" y="2969908"/>
            <a:ext cx="10582526" cy="369332"/>
          </a:xfrm>
          <a:prstGeom prst="rect">
            <a:avLst/>
          </a:prstGeom>
          <a:noFill/>
        </p:spPr>
        <p:txBody>
          <a:bodyPr wrap="square">
            <a:spAutoFit/>
          </a:bodyPr>
          <a:lstStyle/>
          <a:p>
            <a:pPr marL="0" indent="0">
              <a:lnSpc>
                <a:spcPct val="100000"/>
              </a:lnSpc>
              <a:spcBef>
                <a:spcPts val="0"/>
              </a:spcBef>
              <a:buNone/>
            </a:pPr>
            <a:r>
              <a:rPr lang="en-US" sz="1800" b="1" dirty="0"/>
              <a:t>HIV and TB may not be ended as epidemics by 2030 in Lao PDR if the current trend continues</a:t>
            </a:r>
          </a:p>
        </p:txBody>
      </p:sp>
    </p:spTree>
    <p:extLst>
      <p:ext uri="{BB962C8B-B14F-4D97-AF65-F5344CB8AC3E}">
        <p14:creationId xmlns:p14="http://schemas.microsoft.com/office/powerpoint/2010/main" val="308524620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6E66EE26-2E0D-44E7-A0FD-9D7C25304C70}"/>
              </a:ext>
            </a:extLst>
          </p:cNvPr>
          <p:cNvSpPr>
            <a:spLocks noGrp="1"/>
          </p:cNvSpPr>
          <p:nvPr>
            <p:ph type="sldNum" sz="quarter" idx="12"/>
          </p:nvPr>
        </p:nvSpPr>
        <p:spPr>
          <a:xfrm>
            <a:off x="10939284" y="6059469"/>
            <a:ext cx="897300" cy="365125"/>
          </a:xfrm>
        </p:spPr>
        <p:txBody>
          <a:bodyPr/>
          <a:lstStyle/>
          <a:p>
            <a:fld id="{9E2BE927-25C7-4379-86F1-C17ED9D2A7F2}" type="slidenum">
              <a:rPr lang="en-US" smtClean="0"/>
              <a:pPr/>
              <a:t>7</a:t>
            </a:fld>
            <a:endParaRPr lang="en-US"/>
          </a:p>
        </p:txBody>
      </p:sp>
      <p:sp>
        <p:nvSpPr>
          <p:cNvPr id="46" name="Title 2">
            <a:extLst>
              <a:ext uri="{FF2B5EF4-FFF2-40B4-BE49-F238E27FC236}">
                <a16:creationId xmlns:a16="http://schemas.microsoft.com/office/drawing/2014/main" id="{C4499616-5055-9018-E430-5A66D5EEF24A}"/>
              </a:ext>
            </a:extLst>
          </p:cNvPr>
          <p:cNvSpPr>
            <a:spLocks noGrp="1"/>
          </p:cNvSpPr>
          <p:nvPr>
            <p:ph type="title"/>
          </p:nvPr>
        </p:nvSpPr>
        <p:spPr>
          <a:xfrm>
            <a:off x="171463" y="193755"/>
            <a:ext cx="9441225" cy="468000"/>
          </a:xfrm>
        </p:spPr>
        <p:txBody>
          <a:bodyPr/>
          <a:lstStyle/>
          <a:p>
            <a:r>
              <a:rPr lang="en-US" sz="2800" dirty="0"/>
              <a:t>Good practices observed</a:t>
            </a:r>
          </a:p>
        </p:txBody>
      </p:sp>
      <p:cxnSp>
        <p:nvCxnSpPr>
          <p:cNvPr id="47" name="Straight Connector 46">
            <a:extLst>
              <a:ext uri="{FF2B5EF4-FFF2-40B4-BE49-F238E27FC236}">
                <a16:creationId xmlns:a16="http://schemas.microsoft.com/office/drawing/2014/main" id="{1450C954-5218-3C2B-70E3-0AEA67BCE3A7}"/>
              </a:ext>
            </a:extLst>
          </p:cNvPr>
          <p:cNvCxnSpPr>
            <a:cxnSpLocks/>
          </p:cNvCxnSpPr>
          <p:nvPr/>
        </p:nvCxnSpPr>
        <p:spPr>
          <a:xfrm>
            <a:off x="0" y="738001"/>
            <a:ext cx="12192000" cy="0"/>
          </a:xfrm>
          <a:prstGeom prst="line">
            <a:avLst/>
          </a:prstGeom>
          <a:ln w="285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4" name="TextBox 13">
            <a:extLst>
              <a:ext uri="{FF2B5EF4-FFF2-40B4-BE49-F238E27FC236}">
                <a16:creationId xmlns:a16="http://schemas.microsoft.com/office/drawing/2014/main" id="{41C6C37B-84CE-DDF4-F8C3-A703949929E6}"/>
              </a:ext>
            </a:extLst>
          </p:cNvPr>
          <p:cNvSpPr txBox="1"/>
          <p:nvPr/>
        </p:nvSpPr>
        <p:spPr>
          <a:xfrm>
            <a:off x="0" y="1042711"/>
            <a:ext cx="5865542" cy="5786199"/>
          </a:xfrm>
          <a:prstGeom prst="rect">
            <a:avLst/>
          </a:prstGeom>
          <a:noFill/>
        </p:spPr>
        <p:txBody>
          <a:bodyPr wrap="square" lIns="91440" tIns="45720" rIns="182880" bIns="45720" anchor="t">
            <a:spAutoFit/>
          </a:bodyPr>
          <a:lstStyle/>
          <a:p>
            <a:pPr marL="283210" lvl="3" indent="-283210" algn="just">
              <a:spcAft>
                <a:spcPts val="2400"/>
              </a:spcAft>
              <a:buFont typeface="Wingdings" panose="05000000000000000000" pitchFamily="2" charset="2"/>
              <a:buChar char="§"/>
              <a:defRPr/>
            </a:pPr>
            <a:r>
              <a:rPr lang="en-GB" sz="1600" b="1" dirty="0">
                <a:solidFill>
                  <a:schemeClr val="tx1"/>
                </a:solidFill>
              </a:rPr>
              <a:t>HANSA has fostered ownership at the subnational level </a:t>
            </a:r>
            <a:r>
              <a:rPr lang="en-GB" sz="1600" dirty="0">
                <a:solidFill>
                  <a:schemeClr val="tx1"/>
                </a:solidFill>
              </a:rPr>
              <a:t>more effectively than previous initiatives, especially concerning TB</a:t>
            </a:r>
          </a:p>
          <a:p>
            <a:pPr marL="283210" lvl="3" indent="-283210" algn="just">
              <a:spcAft>
                <a:spcPts val="2400"/>
              </a:spcAft>
              <a:buFont typeface="Wingdings" panose="05000000000000000000" pitchFamily="2" charset="2"/>
              <a:buChar char="§"/>
              <a:defRPr/>
            </a:pPr>
            <a:r>
              <a:rPr lang="en-GB" sz="1600" b="1" dirty="0">
                <a:solidFill>
                  <a:schemeClr val="tx1"/>
                </a:solidFill>
              </a:rPr>
              <a:t>HANSA 1 experience and evaluations triggered a forward-thinking approach</a:t>
            </a:r>
            <a:r>
              <a:rPr lang="en-GB" sz="1600" dirty="0">
                <a:solidFill>
                  <a:schemeClr val="tx1"/>
                </a:solidFill>
              </a:rPr>
              <a:t> that is translated in the designing of the HANSA 2, to enhance the integration of disease-specific programs within the national healthcare landscape</a:t>
            </a:r>
          </a:p>
          <a:p>
            <a:pPr marL="283210" lvl="3" indent="-283210" algn="just">
              <a:spcAft>
                <a:spcPts val="2400"/>
              </a:spcAft>
              <a:buFont typeface="Wingdings" panose="05000000000000000000" pitchFamily="2" charset="2"/>
              <a:buChar char="§"/>
              <a:defRPr/>
            </a:pPr>
            <a:r>
              <a:rPr lang="en-US" sz="1600" b="1" dirty="0">
                <a:solidFill>
                  <a:schemeClr val="tx1"/>
                </a:solidFill>
              </a:rPr>
              <a:t>The HANSA 2 project is committed to enhancing healthcare services</a:t>
            </a:r>
            <a:r>
              <a:rPr lang="en-US" sz="1600" dirty="0">
                <a:solidFill>
                  <a:schemeClr val="tx1"/>
                </a:solidFill>
              </a:rPr>
              <a:t> for individuals with TB and HIV. This includes providing essential medicine and diagnosis, ensuring continuity of treatment, increasing health </a:t>
            </a:r>
            <a:r>
              <a:rPr lang="en-US" sz="1600" dirty="0" err="1">
                <a:solidFill>
                  <a:schemeClr val="tx1"/>
                </a:solidFill>
              </a:rPr>
              <a:t>centres'</a:t>
            </a:r>
            <a:r>
              <a:rPr lang="en-US" sz="1600" dirty="0">
                <a:solidFill>
                  <a:schemeClr val="tx1"/>
                </a:solidFill>
              </a:rPr>
              <a:t> capacity for counselling and screening, and improving referral systems</a:t>
            </a:r>
          </a:p>
          <a:p>
            <a:pPr marL="283210" lvl="3" indent="-283210" algn="just">
              <a:spcAft>
                <a:spcPts val="2400"/>
              </a:spcAft>
              <a:buFont typeface="Wingdings" panose="05000000000000000000" pitchFamily="2" charset="2"/>
              <a:buChar char="§"/>
              <a:defRPr/>
            </a:pPr>
            <a:r>
              <a:rPr lang="en-US" sz="1600" b="1" kern="1200" dirty="0">
                <a:effectLst/>
                <a:latin typeface="Arial"/>
                <a:ea typeface="+mn-ea"/>
                <a:cs typeface="Arial"/>
              </a:rPr>
              <a:t>Technical assistance through WHO to support the TB and HIV programs</a:t>
            </a:r>
            <a:r>
              <a:rPr lang="en-US" sz="1600" kern="1200" dirty="0">
                <a:effectLst/>
                <a:latin typeface="Arial"/>
                <a:ea typeface="+mn-ea"/>
                <a:cs typeface="Arial"/>
              </a:rPr>
              <a:t> to provide up to date normative guidance, and laboratory support </a:t>
            </a:r>
          </a:p>
          <a:p>
            <a:pPr marL="283210" lvl="3" indent="-283210" algn="just">
              <a:spcAft>
                <a:spcPts val="2800"/>
              </a:spcAft>
              <a:buFont typeface="Wingdings" panose="05000000000000000000" pitchFamily="2" charset="2"/>
              <a:buChar char="§"/>
              <a:defRPr/>
            </a:pPr>
            <a:endParaRPr lang="en-US" sz="1800" dirty="0">
              <a:solidFill>
                <a:schemeClr val="tx1"/>
              </a:solidFill>
            </a:endParaRPr>
          </a:p>
        </p:txBody>
      </p:sp>
      <p:sp>
        <p:nvSpPr>
          <p:cNvPr id="4" name="TextBox 3">
            <a:extLst>
              <a:ext uri="{FF2B5EF4-FFF2-40B4-BE49-F238E27FC236}">
                <a16:creationId xmlns:a16="http://schemas.microsoft.com/office/drawing/2014/main" id="{52DF0DD5-C5DE-CB79-F708-49E993E96FD5}"/>
              </a:ext>
            </a:extLst>
          </p:cNvPr>
          <p:cNvSpPr txBox="1"/>
          <p:nvPr/>
        </p:nvSpPr>
        <p:spPr>
          <a:xfrm>
            <a:off x="5865542" y="1042711"/>
            <a:ext cx="6133170" cy="4708981"/>
          </a:xfrm>
          <a:prstGeom prst="rect">
            <a:avLst/>
          </a:prstGeom>
          <a:noFill/>
        </p:spPr>
        <p:txBody>
          <a:bodyPr wrap="square">
            <a:spAutoFit/>
          </a:bodyPr>
          <a:lstStyle/>
          <a:p>
            <a:pPr marL="285750" indent="-285750" algn="just">
              <a:spcAft>
                <a:spcPts val="1800"/>
              </a:spcAft>
              <a:buFont typeface="Wingdings" panose="05000000000000000000" pitchFamily="2" charset="2"/>
              <a:buChar char="§"/>
            </a:pPr>
            <a:r>
              <a:rPr lang="en-GB" sz="1600" dirty="0"/>
              <a:t>In HANSA 2, Technical Assistance (TA) provided by CHAI </a:t>
            </a:r>
            <a:r>
              <a:rPr lang="en-GB" sz="1600" b="1" dirty="0"/>
              <a:t>aims to align procurement cycles with domestic funding schedules</a:t>
            </a:r>
            <a:r>
              <a:rPr lang="en-GB" sz="1600" dirty="0"/>
              <a:t>, minimizing the risk of stockouts and ensuring consistent availability of TB medications</a:t>
            </a:r>
          </a:p>
          <a:p>
            <a:pPr marL="285750" indent="-285750" algn="just">
              <a:spcAft>
                <a:spcPts val="1800"/>
              </a:spcAft>
              <a:buFont typeface="Wingdings" panose="05000000000000000000" pitchFamily="2" charset="2"/>
              <a:buChar char="§"/>
            </a:pPr>
            <a:r>
              <a:rPr lang="en-GB" sz="1600" dirty="0"/>
              <a:t>The </a:t>
            </a:r>
            <a:r>
              <a:rPr lang="en-GB" sz="1600" b="1" dirty="0"/>
              <a:t>National Strategic Plan involves comprehensive strategies </a:t>
            </a:r>
            <a:r>
              <a:rPr lang="en-GB" sz="1600" dirty="0"/>
              <a:t>such as treating all TB cases, enhancing TB/HIV collaborative activities and training healthcare professionals</a:t>
            </a:r>
          </a:p>
          <a:p>
            <a:pPr marL="285750" lvl="0" indent="-285750" algn="just">
              <a:spcAft>
                <a:spcPts val="1800"/>
              </a:spcAft>
              <a:buFont typeface="Wingdings" panose="05000000000000000000" pitchFamily="2" charset="2"/>
              <a:buChar char="§"/>
            </a:pPr>
            <a:r>
              <a:rPr lang="en-US" sz="1600" b="1" kern="1200" dirty="0">
                <a:effectLst/>
                <a:latin typeface="Arial"/>
                <a:ea typeface="+mn-ea"/>
                <a:cs typeface="Arial"/>
              </a:rPr>
              <a:t>Creation of a roadmap for the HIV program</a:t>
            </a:r>
            <a:r>
              <a:rPr lang="en-US" sz="1600" kern="1200" dirty="0">
                <a:effectLst/>
                <a:latin typeface="Arial"/>
                <a:ea typeface="+mn-ea"/>
                <a:cs typeface="Arial"/>
              </a:rPr>
              <a:t> with USAID support, aiming for national self-reliance by 2030</a:t>
            </a:r>
          </a:p>
          <a:p>
            <a:pPr marL="285750" lvl="0" indent="-285750" algn="just">
              <a:spcAft>
                <a:spcPts val="1800"/>
              </a:spcAft>
              <a:buFont typeface="Wingdings" panose="05000000000000000000" pitchFamily="2" charset="2"/>
              <a:buChar char="§"/>
            </a:pPr>
            <a:r>
              <a:rPr lang="en-US" sz="1600" b="1" kern="1200" dirty="0">
                <a:effectLst/>
                <a:latin typeface="Arial"/>
                <a:ea typeface="+mn-ea"/>
                <a:cs typeface="Arial"/>
              </a:rPr>
              <a:t>Most testing activities are provided by CSOs</a:t>
            </a:r>
            <a:r>
              <a:rPr lang="en-US" sz="1600" kern="1200" dirty="0">
                <a:effectLst/>
                <a:latin typeface="Arial"/>
                <a:ea typeface="+mn-ea"/>
                <a:cs typeface="Arial"/>
              </a:rPr>
              <a:t> under the new funding model while maintaining coordination with facilities who are also responsible for reporting into the DHIS2</a:t>
            </a:r>
          </a:p>
          <a:p>
            <a:pPr marL="285750" lvl="0" indent="-285750" algn="just">
              <a:buFont typeface="Wingdings" panose="05000000000000000000" pitchFamily="2" charset="2"/>
              <a:buChar char="§"/>
            </a:pPr>
            <a:r>
              <a:rPr lang="en-US" sz="1600" kern="1200" dirty="0">
                <a:effectLst/>
                <a:latin typeface="Arial"/>
                <a:ea typeface="+mn-ea"/>
                <a:cs typeface="Arial"/>
              </a:rPr>
              <a:t>CHAS has outlined plans to </a:t>
            </a:r>
            <a:r>
              <a:rPr lang="en-US" sz="1600" b="1" kern="1200" dirty="0">
                <a:effectLst/>
                <a:latin typeface="Arial"/>
                <a:ea typeface="+mn-ea"/>
                <a:cs typeface="Arial"/>
              </a:rPr>
              <a:t>decentralize POC early infant diagnosis</a:t>
            </a:r>
            <a:r>
              <a:rPr lang="en-US" sz="1600" kern="1200" dirty="0">
                <a:effectLst/>
                <a:latin typeface="Arial"/>
                <a:ea typeface="+mn-ea"/>
                <a:cs typeface="Arial"/>
              </a:rPr>
              <a:t>, a measure that helps increase accessibility and reduce costs for the government</a:t>
            </a:r>
          </a:p>
        </p:txBody>
      </p:sp>
    </p:spTree>
    <p:custDataLst>
      <p:custData r:id="rId1"/>
      <p:custData r:id="rId2"/>
    </p:custDataLst>
    <p:extLst>
      <p:ext uri="{BB962C8B-B14F-4D97-AF65-F5344CB8AC3E}">
        <p14:creationId xmlns:p14="http://schemas.microsoft.com/office/powerpoint/2010/main" val="111212826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6E66EE26-2E0D-44E7-A0FD-9D7C25304C70}"/>
              </a:ext>
            </a:extLst>
          </p:cNvPr>
          <p:cNvSpPr>
            <a:spLocks noGrp="1"/>
          </p:cNvSpPr>
          <p:nvPr>
            <p:ph type="sldNum" sz="quarter" idx="12"/>
          </p:nvPr>
        </p:nvSpPr>
        <p:spPr/>
        <p:txBody>
          <a:bodyPr/>
          <a:lstStyle/>
          <a:p>
            <a:fld id="{9E2BE927-25C7-4379-86F1-C17ED9D2A7F2}" type="slidenum">
              <a:rPr lang="en-US" smtClean="0"/>
              <a:pPr/>
              <a:t>8</a:t>
            </a:fld>
            <a:endParaRPr lang="en-US"/>
          </a:p>
        </p:txBody>
      </p:sp>
      <p:sp>
        <p:nvSpPr>
          <p:cNvPr id="14" name="Title 2">
            <a:extLst>
              <a:ext uri="{FF2B5EF4-FFF2-40B4-BE49-F238E27FC236}">
                <a16:creationId xmlns:a16="http://schemas.microsoft.com/office/drawing/2014/main" id="{423B693F-BBB5-C527-8130-FAB83FA410D1}"/>
              </a:ext>
            </a:extLst>
          </p:cNvPr>
          <p:cNvSpPr>
            <a:spLocks noGrp="1"/>
          </p:cNvSpPr>
          <p:nvPr>
            <p:ph type="title"/>
          </p:nvPr>
        </p:nvSpPr>
        <p:spPr>
          <a:xfrm>
            <a:off x="189524" y="150699"/>
            <a:ext cx="11872847" cy="468000"/>
          </a:xfrm>
        </p:spPr>
        <p:txBody>
          <a:bodyPr/>
          <a:lstStyle/>
          <a:p>
            <a:r>
              <a:rPr lang="en-GB" sz="2400" b="1" dirty="0"/>
              <a:t>1. Limited integration of TB and HIV services with primary healthcare</a:t>
            </a:r>
            <a:r>
              <a:rPr lang="en-US" sz="2400" b="1" dirty="0"/>
              <a:t> </a:t>
            </a:r>
            <a:endParaRPr lang="en-US" sz="2400" dirty="0"/>
          </a:p>
        </p:txBody>
      </p:sp>
      <p:sp>
        <p:nvSpPr>
          <p:cNvPr id="26" name="TextBox 25">
            <a:extLst>
              <a:ext uri="{FF2B5EF4-FFF2-40B4-BE49-F238E27FC236}">
                <a16:creationId xmlns:a16="http://schemas.microsoft.com/office/drawing/2014/main" id="{0AF7F75F-32D6-5024-A062-C71128FA0EAB}"/>
              </a:ext>
            </a:extLst>
          </p:cNvPr>
          <p:cNvSpPr txBox="1"/>
          <p:nvPr/>
        </p:nvSpPr>
        <p:spPr>
          <a:xfrm>
            <a:off x="-1" y="931808"/>
            <a:ext cx="6326372" cy="3754874"/>
          </a:xfrm>
          <a:prstGeom prst="rect">
            <a:avLst/>
          </a:prstGeom>
          <a:solidFill>
            <a:schemeClr val="bg1"/>
          </a:solidFill>
        </p:spPr>
        <p:txBody>
          <a:bodyPr wrap="square" lIns="274320" tIns="0" rIns="182880" bIns="0">
            <a:spAutoFit/>
          </a:bodyPr>
          <a:lstStyle/>
          <a:p>
            <a:pPr marL="285750" indent="-285750" algn="just">
              <a:spcAft>
                <a:spcPts val="1200"/>
              </a:spcAft>
              <a:buFont typeface="Wingdings" panose="05000000000000000000" pitchFamily="2" charset="2"/>
              <a:buChar char="§"/>
            </a:pPr>
            <a:r>
              <a:rPr lang="en-GB" sz="1600" b="1" dirty="0"/>
              <a:t>HANSA 1 was not able to complete the integration of vertical programs as one of the program objectives, </a:t>
            </a:r>
            <a:r>
              <a:rPr lang="en-GB" sz="1600" dirty="0"/>
              <a:t>as a result, </a:t>
            </a:r>
            <a:r>
              <a:rPr lang="en-US" sz="1600" dirty="0"/>
              <a:t>achieving Universal Health coverage by 2025 will not be possible</a:t>
            </a:r>
            <a:endParaRPr lang="en-GB" sz="1600" dirty="0"/>
          </a:p>
          <a:p>
            <a:pPr marL="285750" indent="-285750" algn="just">
              <a:spcAft>
                <a:spcPts val="1200"/>
              </a:spcAft>
              <a:buFont typeface="Wingdings" panose="05000000000000000000" pitchFamily="2" charset="2"/>
              <a:buChar char="§"/>
            </a:pPr>
            <a:r>
              <a:rPr lang="en-GB" sz="1600" b="1" dirty="0"/>
              <a:t>Skills and education gaps among health workers including g</a:t>
            </a:r>
            <a:r>
              <a:rPr lang="en-GB" sz="1600" dirty="0"/>
              <a:t>aps in clinical skills among frontline health workers with no training happening in HANSA 1 which was supposed to come from domestic funding</a:t>
            </a:r>
          </a:p>
          <a:p>
            <a:pPr marL="285750" indent="-285750" algn="just">
              <a:spcAft>
                <a:spcPts val="1200"/>
              </a:spcAft>
              <a:buFont typeface="Wingdings" panose="05000000000000000000" pitchFamily="2" charset="2"/>
              <a:buChar char="§"/>
            </a:pPr>
            <a:r>
              <a:rPr lang="en-GB" sz="1600" b="1" dirty="0"/>
              <a:t>Challenges in decentralization and fund disbursemen</a:t>
            </a:r>
            <a:r>
              <a:rPr lang="en-GB" sz="1600" dirty="0"/>
              <a:t>t like the decentralization of TB program which was in progress before HANSA, but delays in fund disbursement due to the long administrative process hindered its effectiveness including essential activities like delayed transportation of sputum, testing and treatment initiation</a:t>
            </a:r>
          </a:p>
        </p:txBody>
      </p:sp>
      <p:cxnSp>
        <p:nvCxnSpPr>
          <p:cNvPr id="3" name="Straight Connector 2">
            <a:extLst>
              <a:ext uri="{FF2B5EF4-FFF2-40B4-BE49-F238E27FC236}">
                <a16:creationId xmlns:a16="http://schemas.microsoft.com/office/drawing/2014/main" id="{A3BB2510-A56D-9FBC-1531-0B8CFAFCCBA9}"/>
              </a:ext>
            </a:extLst>
          </p:cNvPr>
          <p:cNvCxnSpPr>
            <a:cxnSpLocks/>
          </p:cNvCxnSpPr>
          <p:nvPr/>
        </p:nvCxnSpPr>
        <p:spPr>
          <a:xfrm>
            <a:off x="29947" y="618699"/>
            <a:ext cx="12192000" cy="0"/>
          </a:xfrm>
          <a:prstGeom prst="line">
            <a:avLst/>
          </a:prstGeom>
          <a:ln w="285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5" name="TextBox 4">
            <a:extLst>
              <a:ext uri="{FF2B5EF4-FFF2-40B4-BE49-F238E27FC236}">
                <a16:creationId xmlns:a16="http://schemas.microsoft.com/office/drawing/2014/main" id="{537CA8C6-1EF9-FBCB-B090-B73C3AA7F21C}"/>
              </a:ext>
            </a:extLst>
          </p:cNvPr>
          <p:cNvSpPr txBox="1"/>
          <p:nvPr/>
        </p:nvSpPr>
        <p:spPr>
          <a:xfrm>
            <a:off x="6332884" y="874788"/>
            <a:ext cx="5651430" cy="5047536"/>
          </a:xfrm>
          <a:prstGeom prst="rect">
            <a:avLst/>
          </a:prstGeom>
          <a:solidFill>
            <a:schemeClr val="bg1"/>
          </a:solidFill>
        </p:spPr>
        <p:txBody>
          <a:bodyPr wrap="square">
            <a:spAutoFit/>
          </a:bodyPr>
          <a:lstStyle/>
          <a:p>
            <a:pPr marL="285750" indent="-285750" algn="just">
              <a:spcAft>
                <a:spcPts val="1200"/>
              </a:spcAft>
              <a:buFont typeface="Wingdings" panose="05000000000000000000" pitchFamily="2" charset="2"/>
              <a:buChar char="§"/>
            </a:pPr>
            <a:r>
              <a:rPr lang="en-GB" sz="1600" b="1" dirty="0"/>
              <a:t>Challenges in providing HIV testing services at PHC facilities: </a:t>
            </a:r>
          </a:p>
          <a:p>
            <a:pPr marL="742950" lvl="1" indent="-285750" algn="just">
              <a:spcAft>
                <a:spcPts val="1200"/>
              </a:spcAft>
              <a:buFont typeface="Arial" panose="020B0604020202020204" pitchFamily="34" charset="0"/>
              <a:buChar char="•"/>
            </a:pPr>
            <a:r>
              <a:rPr lang="en-GB" sz="1600" dirty="0"/>
              <a:t>Screening tests limited to district level, with confirmation tests performed at provincial level, discouraging the patients from following the cascade. For example, the achievement of the target for HIV rapid test for pregnant women was 10% in 2022-2023.</a:t>
            </a:r>
          </a:p>
          <a:p>
            <a:pPr marL="285750" indent="-285750" algn="just">
              <a:spcAft>
                <a:spcPts val="1200"/>
              </a:spcAft>
              <a:buFont typeface="Wingdings" panose="05000000000000000000" pitchFamily="2" charset="2"/>
              <a:buChar char="§"/>
            </a:pPr>
            <a:r>
              <a:rPr lang="en-GB" sz="1600" b="1" dirty="0"/>
              <a:t>Coordination challenges: </a:t>
            </a:r>
          </a:p>
          <a:p>
            <a:pPr marL="742950" lvl="1" indent="-285750" algn="just">
              <a:spcAft>
                <a:spcPts val="1200"/>
              </a:spcAft>
              <a:buFont typeface="Arial" panose="020B0604020202020204" pitchFamily="34" charset="0"/>
              <a:buChar char="•"/>
            </a:pPr>
            <a:r>
              <a:rPr lang="en-GB" sz="1600" dirty="0"/>
              <a:t>Ambiguity surrounding CCM's role in relation to the HANSA steering committee, indicating oversight gap in project's initial planning. </a:t>
            </a:r>
          </a:p>
          <a:p>
            <a:pPr marL="742950" lvl="1" indent="-285750" algn="just">
              <a:spcAft>
                <a:spcPts val="3000"/>
              </a:spcAft>
              <a:buFont typeface="Arial" panose="020B0604020202020204" pitchFamily="34" charset="0"/>
              <a:buChar char="•"/>
            </a:pPr>
            <a:r>
              <a:rPr lang="en-GB" sz="1600" dirty="0"/>
              <a:t>Advisory and oversight role of CCM on joint operation after deal signing still undefined</a:t>
            </a:r>
          </a:p>
          <a:p>
            <a:pPr marL="742950" lvl="1" indent="-285750" algn="just">
              <a:buFont typeface="Wingdings" panose="05000000000000000000" pitchFamily="2" charset="2"/>
              <a:buChar char="Ø"/>
            </a:pPr>
            <a:endParaRPr lang="en-GB" sz="1200" dirty="0"/>
          </a:p>
          <a:p>
            <a:pPr marL="285750" indent="-285750">
              <a:spcAft>
                <a:spcPts val="3000"/>
              </a:spcAft>
              <a:buFont typeface="Wingdings" panose="05000000000000000000" pitchFamily="2" charset="2"/>
              <a:buChar char="§"/>
            </a:pPr>
            <a:endParaRPr lang="en-US" sz="1200" dirty="0">
              <a:latin typeface="Arial" panose="020B0604020202020204" pitchFamily="34" charset="0"/>
              <a:cs typeface="Arial" panose="020B0604020202020204" pitchFamily="34" charset="0"/>
            </a:endParaRPr>
          </a:p>
        </p:txBody>
      </p:sp>
    </p:spTree>
    <p:custDataLst>
      <p:custData r:id="rId1"/>
      <p:custData r:id="rId2"/>
    </p:custDataLst>
    <p:extLst>
      <p:ext uri="{BB962C8B-B14F-4D97-AF65-F5344CB8AC3E}">
        <p14:creationId xmlns:p14="http://schemas.microsoft.com/office/powerpoint/2010/main" val="239150920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6E66EE26-2E0D-44E7-A0FD-9D7C25304C70}"/>
              </a:ext>
            </a:extLst>
          </p:cNvPr>
          <p:cNvSpPr>
            <a:spLocks noGrp="1"/>
          </p:cNvSpPr>
          <p:nvPr>
            <p:ph type="sldNum" sz="quarter" idx="12"/>
          </p:nvPr>
        </p:nvSpPr>
        <p:spPr/>
        <p:txBody>
          <a:bodyPr/>
          <a:lstStyle/>
          <a:p>
            <a:fld id="{9E2BE927-25C7-4379-86F1-C17ED9D2A7F2}" type="slidenum">
              <a:rPr lang="en-US" smtClean="0"/>
              <a:pPr/>
              <a:t>9</a:t>
            </a:fld>
            <a:endParaRPr lang="en-US"/>
          </a:p>
        </p:txBody>
      </p:sp>
      <p:sp>
        <p:nvSpPr>
          <p:cNvPr id="14" name="Title 2">
            <a:extLst>
              <a:ext uri="{FF2B5EF4-FFF2-40B4-BE49-F238E27FC236}">
                <a16:creationId xmlns:a16="http://schemas.microsoft.com/office/drawing/2014/main" id="{423B693F-BBB5-C527-8130-FAB83FA410D1}"/>
              </a:ext>
            </a:extLst>
          </p:cNvPr>
          <p:cNvSpPr>
            <a:spLocks noGrp="1"/>
          </p:cNvSpPr>
          <p:nvPr>
            <p:ph type="title"/>
          </p:nvPr>
        </p:nvSpPr>
        <p:spPr>
          <a:xfrm>
            <a:off x="165446" y="104861"/>
            <a:ext cx="11887081" cy="468000"/>
          </a:xfrm>
        </p:spPr>
        <p:txBody>
          <a:bodyPr/>
          <a:lstStyle/>
          <a:p>
            <a:r>
              <a:rPr lang="en-US" sz="2400" b="1" dirty="0"/>
              <a:t>2. </a:t>
            </a:r>
            <a:r>
              <a:rPr lang="en-GB" sz="2400" dirty="0">
                <a:solidFill>
                  <a:schemeClr val="tx1"/>
                </a:solidFill>
              </a:rPr>
              <a:t>The absence of comprehensive, accurate, and standardized data, compounded by challenges </a:t>
            </a:r>
            <a:r>
              <a:rPr lang="en-GB" sz="2400" dirty="0"/>
              <a:t>incl.</a:t>
            </a:r>
            <a:r>
              <a:rPr lang="en-GB" sz="2400" dirty="0">
                <a:solidFill>
                  <a:schemeClr val="tx1"/>
                </a:solidFill>
              </a:rPr>
              <a:t> limited staff capacity and manual entry errors</a:t>
            </a:r>
            <a:r>
              <a:rPr lang="en-US" sz="2400" b="1" dirty="0">
                <a:solidFill>
                  <a:prstClr val="black"/>
                </a:solidFill>
                <a:cs typeface="Arial" panose="020B0604020202020204" pitchFamily="34" charset="0"/>
              </a:rPr>
              <a:t> </a:t>
            </a:r>
            <a:br>
              <a:rPr lang="en-US" sz="2400" b="1" i="0" u="none" strike="noStrike" kern="1200" cap="none" spc="0" normalizeH="0" baseline="0" noProof="0" dirty="0">
                <a:ln>
                  <a:noFill/>
                </a:ln>
                <a:effectLst/>
                <a:uLnTx/>
                <a:uFillTx/>
                <a:cs typeface="Arial" panose="020B0604020202020204" pitchFamily="34" charset="0"/>
              </a:rPr>
            </a:br>
            <a:endParaRPr lang="en-US" sz="2400" dirty="0"/>
          </a:p>
        </p:txBody>
      </p:sp>
      <p:sp>
        <p:nvSpPr>
          <p:cNvPr id="26" name="TextBox 25">
            <a:extLst>
              <a:ext uri="{FF2B5EF4-FFF2-40B4-BE49-F238E27FC236}">
                <a16:creationId xmlns:a16="http://schemas.microsoft.com/office/drawing/2014/main" id="{0AF7F75F-32D6-5024-A062-C71128FA0EAB}"/>
              </a:ext>
            </a:extLst>
          </p:cNvPr>
          <p:cNvSpPr txBox="1"/>
          <p:nvPr/>
        </p:nvSpPr>
        <p:spPr>
          <a:xfrm>
            <a:off x="-26193" y="1389449"/>
            <a:ext cx="6095999" cy="4847481"/>
          </a:xfrm>
          <a:prstGeom prst="rect">
            <a:avLst/>
          </a:prstGeom>
          <a:solidFill>
            <a:schemeClr val="bg1"/>
          </a:solidFill>
        </p:spPr>
        <p:txBody>
          <a:bodyPr wrap="square" lIns="274320" tIns="0" rIns="182880" bIns="0" anchor="t">
            <a:spAutoFit/>
          </a:bodyPr>
          <a:lstStyle/>
          <a:p>
            <a:pPr algn="just"/>
            <a:r>
              <a:rPr lang="en-GB" sz="1600" b="1" dirty="0">
                <a:solidFill>
                  <a:schemeClr val="tx1"/>
                </a:solidFill>
              </a:rPr>
              <a:t>Data challenges and verification process</a:t>
            </a:r>
            <a:r>
              <a:rPr lang="en-GB" sz="1600" dirty="0">
                <a:solidFill>
                  <a:schemeClr val="tx1"/>
                </a:solidFill>
              </a:rPr>
              <a:t>:</a:t>
            </a:r>
          </a:p>
          <a:p>
            <a:pPr algn="just"/>
            <a:endParaRPr lang="en-GB" sz="1600" dirty="0">
              <a:solidFill>
                <a:schemeClr val="tx1"/>
              </a:solidFill>
            </a:endParaRPr>
          </a:p>
          <a:p>
            <a:pPr marL="285750" indent="-285750" algn="just">
              <a:spcAft>
                <a:spcPts val="3000"/>
              </a:spcAft>
              <a:buFont typeface="Wingdings" panose="05000000000000000000" pitchFamily="2" charset="2"/>
              <a:buChar char="§"/>
            </a:pPr>
            <a:r>
              <a:rPr lang="en-GB" sz="1600" b="1" dirty="0">
                <a:solidFill>
                  <a:schemeClr val="tx1"/>
                </a:solidFill>
              </a:rPr>
              <a:t>Lack of baseline data for TB and HIV </a:t>
            </a:r>
            <a:r>
              <a:rPr lang="en-GB" sz="1600" dirty="0">
                <a:solidFill>
                  <a:schemeClr val="tx1"/>
                </a:solidFill>
              </a:rPr>
              <a:t>during the project's inception phase poses a benchmark challenge</a:t>
            </a:r>
          </a:p>
          <a:p>
            <a:pPr marL="285750" indent="-285750" algn="just">
              <a:spcAft>
                <a:spcPts val="3000"/>
              </a:spcAft>
              <a:buFont typeface="Wingdings" panose="05000000000000000000" pitchFamily="2" charset="2"/>
              <a:buChar char="§"/>
            </a:pPr>
            <a:r>
              <a:rPr lang="en-GB" sz="1600" b="1" dirty="0">
                <a:solidFill>
                  <a:schemeClr val="tx1"/>
                </a:solidFill>
              </a:rPr>
              <a:t>Issues with  independent academic institution (IAI) understanding of verification tasks, inconsistencies in verification reports, and weak Quality Assurance from NPCO</a:t>
            </a:r>
            <a:endParaRPr lang="en-GB" sz="1600" dirty="0">
              <a:solidFill>
                <a:schemeClr val="tx1"/>
              </a:solidFill>
            </a:endParaRPr>
          </a:p>
          <a:p>
            <a:pPr marL="285750" indent="-285750" algn="just">
              <a:spcAft>
                <a:spcPts val="3000"/>
              </a:spcAft>
              <a:buFont typeface="Wingdings" panose="05000000000000000000" pitchFamily="2" charset="2"/>
              <a:buChar char="§"/>
            </a:pPr>
            <a:r>
              <a:rPr lang="en-GB" sz="1600" b="1" dirty="0">
                <a:solidFill>
                  <a:schemeClr val="tx1"/>
                </a:solidFill>
              </a:rPr>
              <a:t>Lack of formal tracking and documentation </a:t>
            </a:r>
            <a:r>
              <a:rPr lang="en-GB" sz="1600" dirty="0">
                <a:solidFill>
                  <a:schemeClr val="tx1"/>
                </a:solidFill>
              </a:rPr>
              <a:t>regarding error margin between paper-based and DHIS2 data; adjustments made collaboratively without written feedback</a:t>
            </a:r>
          </a:p>
          <a:p>
            <a:pPr marL="285750" indent="-285750" algn="just">
              <a:spcAft>
                <a:spcPts val="3000"/>
              </a:spcAft>
              <a:buFont typeface="Wingdings" panose="05000000000000000000" pitchFamily="2" charset="2"/>
              <a:buChar char="§"/>
            </a:pPr>
            <a:r>
              <a:rPr lang="en-GB" sz="1600" b="1" dirty="0">
                <a:solidFill>
                  <a:schemeClr val="tx1"/>
                </a:solidFill>
              </a:rPr>
              <a:t>Independent Academic</a:t>
            </a:r>
            <a:r>
              <a:rPr lang="en-GB" sz="1600" b="1" dirty="0"/>
              <a:t> </a:t>
            </a:r>
            <a:r>
              <a:rPr lang="en-GB" sz="1600" b="1" dirty="0">
                <a:solidFill>
                  <a:schemeClr val="tx1"/>
                </a:solidFill>
              </a:rPr>
              <a:t>I</a:t>
            </a:r>
            <a:r>
              <a:rPr lang="en-GB" sz="1600" b="1" dirty="0"/>
              <a:t>nstitution</a:t>
            </a:r>
            <a:r>
              <a:rPr lang="en-GB" sz="1600" b="1" dirty="0">
                <a:solidFill>
                  <a:schemeClr val="tx1"/>
                </a:solidFill>
              </a:rPr>
              <a:t> verification was convenience-based </a:t>
            </a:r>
            <a:r>
              <a:rPr lang="en-GB" sz="1600" dirty="0">
                <a:solidFill>
                  <a:schemeClr val="tx1"/>
                </a:solidFill>
              </a:rPr>
              <a:t>with</a:t>
            </a:r>
            <a:r>
              <a:rPr lang="en-GB" sz="1600" b="1" dirty="0">
                <a:solidFill>
                  <a:schemeClr val="tx1"/>
                </a:solidFill>
              </a:rPr>
              <a:t> </a:t>
            </a:r>
            <a:r>
              <a:rPr lang="en-GB" sz="1600" dirty="0">
                <a:solidFill>
                  <a:schemeClr val="tx1"/>
                </a:solidFill>
              </a:rPr>
              <a:t>selected districts in pre-chosen provinces, impacting program achievements due to the selection of less performing or low TB burden provinces</a:t>
            </a:r>
            <a:endParaRPr lang="en-US" dirty="0">
              <a:latin typeface="Arial" panose="020B0604020202020204" pitchFamily="34" charset="0"/>
              <a:cs typeface="Arial" panose="020B0604020202020204" pitchFamily="34" charset="0"/>
            </a:endParaRPr>
          </a:p>
        </p:txBody>
      </p:sp>
      <p:cxnSp>
        <p:nvCxnSpPr>
          <p:cNvPr id="29" name="Straight Connector 28">
            <a:extLst>
              <a:ext uri="{FF2B5EF4-FFF2-40B4-BE49-F238E27FC236}">
                <a16:creationId xmlns:a16="http://schemas.microsoft.com/office/drawing/2014/main" id="{1846D814-3939-3F53-92E1-E612BBCD9AFD}"/>
              </a:ext>
            </a:extLst>
          </p:cNvPr>
          <p:cNvCxnSpPr>
            <a:cxnSpLocks/>
          </p:cNvCxnSpPr>
          <p:nvPr/>
        </p:nvCxnSpPr>
        <p:spPr>
          <a:xfrm>
            <a:off x="-26193" y="1160111"/>
            <a:ext cx="12139612" cy="0"/>
          </a:xfrm>
          <a:prstGeom prst="line">
            <a:avLst/>
          </a:prstGeom>
          <a:ln w="285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3" name="TextBox 2">
            <a:extLst>
              <a:ext uri="{FF2B5EF4-FFF2-40B4-BE49-F238E27FC236}">
                <a16:creationId xmlns:a16="http://schemas.microsoft.com/office/drawing/2014/main" id="{A73F9382-D049-883A-CE85-30C548F1F1D4}"/>
              </a:ext>
            </a:extLst>
          </p:cNvPr>
          <p:cNvSpPr txBox="1"/>
          <p:nvPr/>
        </p:nvSpPr>
        <p:spPr>
          <a:xfrm>
            <a:off x="6043613" y="1389449"/>
            <a:ext cx="6095999" cy="5262979"/>
          </a:xfrm>
          <a:prstGeom prst="rect">
            <a:avLst/>
          </a:prstGeom>
          <a:solidFill>
            <a:schemeClr val="bg1"/>
          </a:solidFill>
        </p:spPr>
        <p:txBody>
          <a:bodyPr wrap="square" lIns="274320" tIns="0" rIns="182880" bIns="0" anchor="t">
            <a:spAutoFit/>
          </a:bodyPr>
          <a:lstStyle/>
          <a:p>
            <a:pPr algn="just"/>
            <a:r>
              <a:rPr lang="en-GB" sz="1600" b="1" dirty="0"/>
              <a:t>HIV/TB integration obstacles</a:t>
            </a:r>
            <a:r>
              <a:rPr lang="en-GB" sz="1600" dirty="0"/>
              <a:t>:</a:t>
            </a:r>
          </a:p>
          <a:p>
            <a:pPr algn="just"/>
            <a:endParaRPr lang="en-GB" sz="1600" dirty="0"/>
          </a:p>
          <a:p>
            <a:pPr marL="285750" indent="-285750" algn="just">
              <a:spcAft>
                <a:spcPts val="2400"/>
              </a:spcAft>
              <a:buFont typeface="Wingdings" panose="05000000000000000000" pitchFamily="2" charset="2"/>
              <a:buChar char="§"/>
            </a:pPr>
            <a:r>
              <a:rPr lang="en-GB" sz="1600" b="1" dirty="0"/>
              <a:t>Limited healthcare staffing and staff skills development,</a:t>
            </a:r>
            <a:r>
              <a:rPr lang="en-GB" sz="1600" dirty="0"/>
              <a:t> encompassing technical and non-technical skills</a:t>
            </a:r>
          </a:p>
          <a:p>
            <a:pPr marL="285750" indent="-285750" algn="just">
              <a:spcAft>
                <a:spcPts val="2400"/>
              </a:spcAft>
              <a:buFont typeface="Wingdings" panose="05000000000000000000" pitchFamily="2" charset="2"/>
              <a:buChar char="§"/>
            </a:pPr>
            <a:r>
              <a:rPr lang="en-GB" sz="1600" dirty="0"/>
              <a:t>Limited M&amp;E efforts, efforts duplications, and problems related to adherence to indicators without shortcuts</a:t>
            </a:r>
          </a:p>
          <a:p>
            <a:pPr marL="285750" indent="-285750" algn="just">
              <a:spcAft>
                <a:spcPts val="2400"/>
              </a:spcAft>
              <a:buFont typeface="Wingdings" panose="05000000000000000000" pitchFamily="2" charset="2"/>
              <a:buChar char="§"/>
            </a:pPr>
            <a:r>
              <a:rPr lang="en-GB" sz="1600" dirty="0"/>
              <a:t>Limited collaboration across teams to expedite progress in challenging provinces and districts</a:t>
            </a:r>
          </a:p>
          <a:p>
            <a:pPr marL="285750" indent="-285750" algn="just">
              <a:spcAft>
                <a:spcPts val="2400"/>
              </a:spcAft>
              <a:buFont typeface="Wingdings" panose="05000000000000000000" pitchFamily="2" charset="2"/>
              <a:buChar char="§"/>
            </a:pPr>
            <a:r>
              <a:rPr lang="en-GB" sz="1600" dirty="0"/>
              <a:t>Limited communication between project levels, formalized communication plans, and training in technical issues and customer service</a:t>
            </a:r>
          </a:p>
          <a:p>
            <a:pPr marL="285750" indent="-285750" algn="just">
              <a:spcAft>
                <a:spcPts val="2400"/>
              </a:spcAft>
              <a:buFont typeface="Wingdings" panose="05000000000000000000" pitchFamily="2" charset="2"/>
              <a:buChar char="§"/>
            </a:pPr>
            <a:r>
              <a:rPr lang="en-GB" sz="1600" dirty="0"/>
              <a:t>Enhanced understanding of DLI mechanisms at the district level and below is critical</a:t>
            </a:r>
          </a:p>
          <a:p>
            <a:pPr marL="742950" lvl="1" indent="-285750">
              <a:spcAft>
                <a:spcPts val="1800"/>
              </a:spcAft>
              <a:buFont typeface="Arial" panose="020B0604020202020204" pitchFamily="34" charset="0"/>
              <a:buChar char="•"/>
              <a:defRPr/>
            </a:pPr>
            <a:endParaRPr lang="en-US" dirty="0">
              <a:latin typeface="Arial" panose="020B0604020202020204" pitchFamily="34" charset="0"/>
              <a:cs typeface="Arial" panose="020B0604020202020204" pitchFamily="34" charset="0"/>
            </a:endParaRPr>
          </a:p>
        </p:txBody>
      </p:sp>
    </p:spTree>
    <p:custDataLst>
      <p:custData r:id="rId1"/>
      <p:custData r:id="rId2"/>
    </p:custDataLst>
    <p:extLst>
      <p:ext uri="{BB962C8B-B14F-4D97-AF65-F5344CB8AC3E}">
        <p14:creationId xmlns:p14="http://schemas.microsoft.com/office/powerpoint/2010/main" val="316886083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MAXCOLS" val="9"/>
  <p:tag name="MAXROWS" val="6"/>
  <p:tag name="MAXGUTTERROW" val="1 cm"/>
  <p:tag name="MAXGUTTERCOL" val="1 cm"/>
  <p:tag name="GUIDEMETRICUNIT" val="cm"/>
  <p:tag name="MASTERLEFTMARGIN" val="28.3465"/>
  <p:tag name="MASTERTOPMARGIN" val="141.7324"/>
  <p:tag name="MASTERBOTTOMMARGIN" val="70.8661"/>
  <p:tag name="MASTERRIGHTMARGIN" val="28.3465"/>
  <p:tag name="CUSTMASTERLEFTMARGIN" val="28.3465"/>
  <p:tag name="CUSTMASTERTOPMARGIN" val="141.7324"/>
  <p:tag name="CUSTMASTERBOTTOMMARGIN" val="70.8661"/>
  <p:tag name="CUSTMASTERRIGHTMARGIN" val="28.3465"/>
  <p:tag name="GUIDESAPPLIEDTO" val="2"/>
  <p:tag name="TITLETOPMARGIN" val="21.2599"/>
  <p:tag name="TITLEBOTTOMMARGIN" val="95.25"/>
</p:tagLst>
</file>

<file path=ppt/tags/tag10.xml><?xml version="1.0" encoding="utf-8"?>
<p:tagLst xmlns:a="http://schemas.openxmlformats.org/drawingml/2006/main" xmlns:r="http://schemas.openxmlformats.org/officeDocument/2006/relationships" xmlns:p="http://schemas.openxmlformats.org/presentationml/2006/main">
  <p:tag name="GUIDESAPPLIEDTO" val="2"/>
  <p:tag name="GUTTERROW" val="0.6 cm"/>
  <p:tag name="GUTTERCOL" val="0.6 cm"/>
  <p:tag name="GUIDEROWS" val="1"/>
  <p:tag name="GUIDECOLS" val="3"/>
</p:tagLst>
</file>

<file path=ppt/tags/tag11.xml><?xml version="1.0" encoding="utf-8"?>
<p:tagLst xmlns:a="http://schemas.openxmlformats.org/drawingml/2006/main" xmlns:r="http://schemas.openxmlformats.org/officeDocument/2006/relationships" xmlns:p="http://schemas.openxmlformats.org/presentationml/2006/main">
  <p:tag name="GUIDESAPPLIEDTO" val="2"/>
  <p:tag name="GUTTERROW" val="0.6 cm"/>
  <p:tag name="GUTTERCOL" val="0.6 cm"/>
  <p:tag name="GUIDEROWS" val="1"/>
  <p:tag name="GUIDECOLS" val="3"/>
</p:tagLst>
</file>

<file path=ppt/tags/tag12.xml><?xml version="1.0" encoding="utf-8"?>
<p:tagLst xmlns:a="http://schemas.openxmlformats.org/drawingml/2006/main" xmlns:r="http://schemas.openxmlformats.org/officeDocument/2006/relationships" xmlns:p="http://schemas.openxmlformats.org/presentationml/2006/main">
  <p:tag name="GUIDECOLS" val="3"/>
  <p:tag name="GUIDEROWS" val="1"/>
  <p:tag name="GUTTERCOL" val="0.6 cm"/>
  <p:tag name="GUTTERROW" val="0.6 cm"/>
  <p:tag name="GUIDESAPPLIEDTO" val="2"/>
</p:tagLst>
</file>

<file path=ppt/tags/tag13.xml><?xml version="1.0" encoding="utf-8"?>
<p:tagLst xmlns:a="http://schemas.openxmlformats.org/drawingml/2006/main" xmlns:r="http://schemas.openxmlformats.org/officeDocument/2006/relationships" xmlns:p="http://schemas.openxmlformats.org/presentationml/2006/main">
  <p:tag name="GUIDECOLS" val="3"/>
  <p:tag name="GUIDEROWS" val="1"/>
  <p:tag name="GUTTERCOL" val="0.6 cm"/>
  <p:tag name="GUTTERROW" val="0.6 cm"/>
  <p:tag name="GUIDESAPPLIEDTO" val="2"/>
</p:tagLst>
</file>

<file path=ppt/tags/tag14.xml><?xml version="1.0" encoding="utf-8"?>
<p:tagLst xmlns:a="http://schemas.openxmlformats.org/drawingml/2006/main" xmlns:r="http://schemas.openxmlformats.org/officeDocument/2006/relationships" xmlns:p="http://schemas.openxmlformats.org/presentationml/2006/main">
  <p:tag name="GUIDECOLS" val="1"/>
  <p:tag name="GUIDEROWS" val="1"/>
  <p:tag name="GUTTERCOL" val="0.6 cm"/>
  <p:tag name="GUTTERROW" val="0.6 cm"/>
  <p:tag name="GUIDESAPPLIEDTO" val="2"/>
</p:tagLst>
</file>

<file path=ppt/tags/tag15.xml><?xml version="1.0" encoding="utf-8"?>
<p:tagLst xmlns:a="http://schemas.openxmlformats.org/drawingml/2006/main" xmlns:r="http://schemas.openxmlformats.org/officeDocument/2006/relationships" xmlns:p="http://schemas.openxmlformats.org/presentationml/2006/main">
  <p:tag name="GUIDECOLS" val="1"/>
  <p:tag name="GUIDEROWS" val="1"/>
  <p:tag name="GUTTERCOL" val="0.6 cm"/>
  <p:tag name="GUTTERROW" val="0.6 cm"/>
  <p:tag name="GUIDESAPPLIEDTO" val="2"/>
</p:tagLst>
</file>

<file path=ppt/tags/tag16.xml><?xml version="1.0" encoding="utf-8"?>
<p:tagLst xmlns:a="http://schemas.openxmlformats.org/drawingml/2006/main" xmlns:r="http://schemas.openxmlformats.org/officeDocument/2006/relationships" xmlns:p="http://schemas.openxmlformats.org/presentationml/2006/main">
  <p:tag name="GUIDECOLS" val="1"/>
  <p:tag name="GUIDEROWS" val="1"/>
  <p:tag name="GUTTERCOL" val="0.6 cm"/>
  <p:tag name="GUTTERROW" val="0.6 cm"/>
  <p:tag name="GUIDESAPPLIEDTO" val="2"/>
</p:tagLst>
</file>

<file path=ppt/tags/tag17.xml><?xml version="1.0" encoding="utf-8"?>
<p:tagLst xmlns:a="http://schemas.openxmlformats.org/drawingml/2006/main" xmlns:r="http://schemas.openxmlformats.org/officeDocument/2006/relationships" xmlns:p="http://schemas.openxmlformats.org/presentationml/2006/main">
  <p:tag name="GUIDECOLS" val="1"/>
  <p:tag name="GUIDEROWS" val="1"/>
  <p:tag name="GUTTERCOL" val="0.6 cm"/>
  <p:tag name="GUTTERROW" val="0.6 cm"/>
  <p:tag name="GUIDESAPPLIEDTO" val="2"/>
</p:tagLst>
</file>

<file path=ppt/tags/tag18.xml><?xml version="1.0" encoding="utf-8"?>
<p:tagLst xmlns:a="http://schemas.openxmlformats.org/drawingml/2006/main" xmlns:r="http://schemas.openxmlformats.org/officeDocument/2006/relationships" xmlns:p="http://schemas.openxmlformats.org/presentationml/2006/main">
  <p:tag name="GUIDECOLS" val="1"/>
  <p:tag name="GUIDEROWS" val="1"/>
  <p:tag name="GUTTERCOL" val="0.6 cm"/>
  <p:tag name="GUTTERROW" val="0.6 cm"/>
  <p:tag name="GUIDESAPPLIEDTO" val="2"/>
</p:tagLst>
</file>

<file path=ppt/tags/tag19.xml><?xml version="1.0" encoding="utf-8"?>
<p:tagLst xmlns:a="http://schemas.openxmlformats.org/drawingml/2006/main" xmlns:r="http://schemas.openxmlformats.org/officeDocument/2006/relationships" xmlns:p="http://schemas.openxmlformats.org/presentationml/2006/main">
  <p:tag name="GUIDECOLS" val="1"/>
  <p:tag name="GUIDEROWS" val="1"/>
  <p:tag name="GUTTERCOL" val="0.6 cm"/>
  <p:tag name="GUTTERROW" val="0.6 cm"/>
  <p:tag name="GUIDESAPPLIEDTO" val="2"/>
</p:tagLst>
</file>

<file path=ppt/tags/tag2.xml><?xml version="1.0" encoding="utf-8"?>
<p:tagLst xmlns:a="http://schemas.openxmlformats.org/drawingml/2006/main" xmlns:r="http://schemas.openxmlformats.org/officeDocument/2006/relationships" xmlns:p="http://schemas.openxmlformats.org/presentationml/2006/main">
  <p:tag name="GUIDESTITLESHAPE" val="True"/>
</p:tagLst>
</file>

<file path=ppt/tags/tag20.xml><?xml version="1.0" encoding="utf-8"?>
<p:tagLst xmlns:a="http://schemas.openxmlformats.org/drawingml/2006/main" xmlns:r="http://schemas.openxmlformats.org/officeDocument/2006/relationships" xmlns:p="http://schemas.openxmlformats.org/presentationml/2006/main">
  <p:tag name="GUIDECOLS" val="1"/>
  <p:tag name="GUIDEROWS" val="1"/>
  <p:tag name="GUTTERCOL" val="0.6 cm"/>
  <p:tag name="GUTTERROW" val="0.6 cm"/>
  <p:tag name="GUIDESAPPLIEDTO" val="2"/>
</p:tagLst>
</file>

<file path=ppt/tags/tag21.xml><?xml version="1.0" encoding="utf-8"?>
<p:tagLst xmlns:a="http://schemas.openxmlformats.org/drawingml/2006/main" xmlns:r="http://schemas.openxmlformats.org/officeDocument/2006/relationships" xmlns:p="http://schemas.openxmlformats.org/presentationml/2006/main">
  <p:tag name="GUIDECOLS" val="1"/>
  <p:tag name="GUIDEROWS" val="1"/>
  <p:tag name="GUTTERCOL" val="0.6 cm"/>
  <p:tag name="GUTTERROW" val="0.6 cm"/>
  <p:tag name="GUIDESAPPLIEDTO" val="2"/>
</p:tagLst>
</file>

<file path=ppt/tags/tag22.xml><?xml version="1.0" encoding="utf-8"?>
<p:tagLst xmlns:a="http://schemas.openxmlformats.org/drawingml/2006/main" xmlns:r="http://schemas.openxmlformats.org/officeDocument/2006/relationships" xmlns:p="http://schemas.openxmlformats.org/presentationml/2006/main">
  <p:tag name="GUIDECOLS" val="1"/>
  <p:tag name="GUIDEROWS" val="1"/>
  <p:tag name="GUTTERCOL" val="0.6 cm"/>
  <p:tag name="GUTTERROW" val="0.6 cm"/>
  <p:tag name="GUIDESAPPLIEDTO" val="2"/>
</p:tagLst>
</file>

<file path=ppt/tags/tag23.xml><?xml version="1.0" encoding="utf-8"?>
<p:tagLst xmlns:a="http://schemas.openxmlformats.org/drawingml/2006/main" xmlns:r="http://schemas.openxmlformats.org/officeDocument/2006/relationships" xmlns:p="http://schemas.openxmlformats.org/presentationml/2006/main">
  <p:tag name="MASTERTOPMARGIN" val="141.7323"/>
  <p:tag name="MASTERLEFTMARGIN" val="28.3465"/>
  <p:tag name="MASTERRIGHTMARGIN" val="28.3465"/>
  <p:tag name="MASTERBOTTOMMARGIN" val="70.8661"/>
  <p:tag name="CUSTMASTERTOPMARGIN" val="141.7323"/>
  <p:tag name="CUSTMASTERLEFTMARGIN" val="28.3465"/>
  <p:tag name="CUSTMASTERRIGHTMARGIN" val="28.3465"/>
  <p:tag name="CUSTMASTERBOTTOMMARGIN" val="70.8661"/>
  <p:tag name="GUIDECOLS" val="2"/>
  <p:tag name="GUIDEROWS" val="1"/>
  <p:tag name="GUTTERCOL" val="0.6 cm"/>
  <p:tag name="GUTTERROW" val="0.6 cm"/>
  <p:tag name="GUIDESAPPLIEDTO" val="2"/>
</p:tagLst>
</file>

<file path=ppt/tags/tag24.xml><?xml version="1.0" encoding="utf-8"?>
<p:tagLst xmlns:a="http://schemas.openxmlformats.org/drawingml/2006/main" xmlns:r="http://schemas.openxmlformats.org/officeDocument/2006/relationships" xmlns:p="http://schemas.openxmlformats.org/presentationml/2006/main">
  <p:tag name="MASTERTOPMARGIN" val="141.7323"/>
  <p:tag name="MASTERLEFTMARGIN" val="28.3465"/>
  <p:tag name="MASTERRIGHTMARGIN" val="28.3465"/>
  <p:tag name="MASTERBOTTOMMARGIN" val="70.8661"/>
  <p:tag name="CUSTMASTERTOPMARGIN" val="141.7323"/>
  <p:tag name="CUSTMASTERLEFTMARGIN" val="28.3465"/>
  <p:tag name="CUSTMASTERRIGHTMARGIN" val="28.3465"/>
  <p:tag name="CUSTMASTERBOTTOMMARGIN" val="70.8661"/>
  <p:tag name="GUIDECOLS" val="2"/>
  <p:tag name="GUIDEROWS" val="1"/>
  <p:tag name="GUTTERCOL" val="0.6 cm"/>
  <p:tag name="GUTTERROW" val="0.6 cm"/>
  <p:tag name="GUIDESAPPLIEDTO" val="2"/>
</p:tagLst>
</file>

<file path=ppt/tags/tag25.xml><?xml version="1.0" encoding="utf-8"?>
<p:tagLst xmlns:a="http://schemas.openxmlformats.org/drawingml/2006/main" xmlns:r="http://schemas.openxmlformats.org/officeDocument/2006/relationships" xmlns:p="http://schemas.openxmlformats.org/presentationml/2006/main">
  <p:tag name="MASTERTOPMARGIN" val="141.7323"/>
  <p:tag name="MASTERLEFTMARGIN" val="28.3465"/>
  <p:tag name="MASTERRIGHTMARGIN" val="28.3465"/>
  <p:tag name="MASTERBOTTOMMARGIN" val="70.8661"/>
  <p:tag name="CUSTMASTERTOPMARGIN" val="141.7323"/>
  <p:tag name="CUSTMASTERLEFTMARGIN" val="28.3465"/>
  <p:tag name="CUSTMASTERRIGHTMARGIN" val="28.3465"/>
  <p:tag name="CUSTMASTERBOTTOMMARGIN" val="70.8661"/>
  <p:tag name="GUIDECOLS" val="2"/>
  <p:tag name="GUIDEROWS" val="1"/>
  <p:tag name="GUTTERCOL" val="0.6 cm"/>
  <p:tag name="GUTTERROW" val="0.6 cm"/>
  <p:tag name="GUIDESAPPLIEDTO" val="2"/>
</p:tagLst>
</file>

<file path=ppt/tags/tag26.xml><?xml version="1.0" encoding="utf-8"?>
<p:tagLst xmlns:a="http://schemas.openxmlformats.org/drawingml/2006/main" xmlns:r="http://schemas.openxmlformats.org/officeDocument/2006/relationships" xmlns:p="http://schemas.openxmlformats.org/presentationml/2006/main">
  <p:tag name="MASTERTOPMARGIN" val="141.7323"/>
  <p:tag name="MASTERLEFTMARGIN" val="28.3465"/>
  <p:tag name="MASTERRIGHTMARGIN" val="28.3465"/>
  <p:tag name="MASTERBOTTOMMARGIN" val="70.8661"/>
  <p:tag name="CUSTMASTERTOPMARGIN" val="141.7323"/>
  <p:tag name="CUSTMASTERLEFTMARGIN" val="28.3465"/>
  <p:tag name="CUSTMASTERRIGHTMARGIN" val="28.3465"/>
  <p:tag name="CUSTMASTERBOTTOMMARGIN" val="70.8661"/>
  <p:tag name="GUIDECOLS" val="2"/>
  <p:tag name="GUIDEROWS" val="1"/>
  <p:tag name="GUTTERCOL" val="0.6 cm"/>
  <p:tag name="GUTTERROW" val="0.6 cm"/>
  <p:tag name="GUIDESAPPLIEDTO" val="2"/>
</p:tagLst>
</file>

<file path=ppt/tags/tag27.xml><?xml version="1.0" encoding="utf-8"?>
<p:tagLst xmlns:a="http://schemas.openxmlformats.org/drawingml/2006/main" xmlns:r="http://schemas.openxmlformats.org/officeDocument/2006/relationships" xmlns:p="http://schemas.openxmlformats.org/presentationml/2006/main">
  <p:tag name="MASTERTOPMARGIN" val="141.7323"/>
  <p:tag name="MASTERLEFTMARGIN" val="28.3465"/>
  <p:tag name="MASTERRIGHTMARGIN" val="28.3465"/>
  <p:tag name="MASTERBOTTOMMARGIN" val="70.8661"/>
  <p:tag name="CUSTMASTERTOPMARGIN" val="141.7323"/>
  <p:tag name="CUSTMASTERLEFTMARGIN" val="28.3465"/>
  <p:tag name="CUSTMASTERRIGHTMARGIN" val="28.3465"/>
  <p:tag name="CUSTMASTERBOTTOMMARGIN" val="70.8661"/>
  <p:tag name="GUIDECOLS" val="3"/>
  <p:tag name="GUIDEROWS" val="1"/>
  <p:tag name="GUTTERCOL" val="0.6 cm"/>
  <p:tag name="GUTTERROW" val="0.6 cm"/>
  <p:tag name="GUIDESAPPLIEDTO" val="2"/>
</p:tagLst>
</file>

<file path=ppt/tags/tag28.xml><?xml version="1.0" encoding="utf-8"?>
<p:tagLst xmlns:a="http://schemas.openxmlformats.org/drawingml/2006/main" xmlns:r="http://schemas.openxmlformats.org/officeDocument/2006/relationships" xmlns:p="http://schemas.openxmlformats.org/presentationml/2006/main">
  <p:tag name="GUIDECOLS" val="2"/>
  <p:tag name="GUIDEROWS" val="2"/>
  <p:tag name="GUTTERCOL" val="0.6 cm"/>
  <p:tag name="GUTTERROW" val="0.6 cm"/>
  <p:tag name="GUIDESAPPLIEDTO" val="2"/>
</p:tagLst>
</file>

<file path=ppt/tags/tag29.xml><?xml version="1.0" encoding="utf-8"?>
<p:tagLst xmlns:a="http://schemas.openxmlformats.org/drawingml/2006/main" xmlns:r="http://schemas.openxmlformats.org/officeDocument/2006/relationships" xmlns:p="http://schemas.openxmlformats.org/presentationml/2006/main">
  <p:tag name="MASTERTOPMARGIN" val="141.7323"/>
  <p:tag name="MASTERLEFTMARGIN" val="28.3465"/>
  <p:tag name="MASTERRIGHTMARGIN" val="28.3465"/>
  <p:tag name="MASTERBOTTOMMARGIN" val="70.8661"/>
  <p:tag name="CUSTMASTERTOPMARGIN" val="141.7323"/>
  <p:tag name="CUSTMASTERLEFTMARGIN" val="28.3465"/>
  <p:tag name="CUSTMASTERRIGHTMARGIN" val="28.3465"/>
  <p:tag name="CUSTMASTERBOTTOMMARGIN" val="70.8661"/>
  <p:tag name="GUIDECOLS" val="4"/>
  <p:tag name="GUIDEROWS" val="1"/>
  <p:tag name="GUTTERCOL" val="0.6 cm"/>
  <p:tag name="GUTTERROW" val="0.6 cm"/>
  <p:tag name="GUIDESAPPLIEDTO" val="2"/>
</p:tagLst>
</file>

<file path=ppt/tags/tag3.xml><?xml version="1.0" encoding="utf-8"?>
<p:tagLst xmlns:a="http://schemas.openxmlformats.org/drawingml/2006/main" xmlns:r="http://schemas.openxmlformats.org/officeDocument/2006/relationships" xmlns:p="http://schemas.openxmlformats.org/presentationml/2006/main">
  <p:tag name="GUIDESMEASURMENT" val="True"/>
</p:tagLst>
</file>

<file path=ppt/tags/tag30.xml><?xml version="1.0" encoding="utf-8"?>
<p:tagLst xmlns:a="http://schemas.openxmlformats.org/drawingml/2006/main" xmlns:r="http://schemas.openxmlformats.org/officeDocument/2006/relationships" xmlns:p="http://schemas.openxmlformats.org/presentationml/2006/main">
  <p:tag name="MASTERTOPMARGIN" val="141.7323"/>
  <p:tag name="MASTERLEFTMARGIN" val="28.3465"/>
  <p:tag name="MASTERRIGHTMARGIN" val="28.3465"/>
  <p:tag name="MASTERBOTTOMMARGIN" val="70.8661"/>
  <p:tag name="CUSTMASTERTOPMARGIN" val="141.7323"/>
  <p:tag name="CUSTMASTERLEFTMARGIN" val="28.3465"/>
  <p:tag name="CUSTMASTERRIGHTMARGIN" val="28.3465"/>
  <p:tag name="CUSTMASTERBOTTOMMARGIN" val="70.8661"/>
  <p:tag name="GUIDECOLS" val="2"/>
  <p:tag name="GUIDEROWS" val="1"/>
  <p:tag name="GUTTERCOL" val="0.6 cm"/>
  <p:tag name="GUTTERROW" val="0.6 cm"/>
  <p:tag name="GUIDESAPPLIEDTO" val="2"/>
</p:tagLst>
</file>

<file path=ppt/tags/tag31.xml><?xml version="1.0" encoding="utf-8"?>
<p:tagLst xmlns:a="http://schemas.openxmlformats.org/drawingml/2006/main" xmlns:r="http://schemas.openxmlformats.org/officeDocument/2006/relationships" xmlns:p="http://schemas.openxmlformats.org/presentationml/2006/main">
  <p:tag name="MASTERTOPMARGIN" val="141.7323"/>
  <p:tag name="MASTERLEFTMARGIN" val="28.3465"/>
  <p:tag name="MASTERRIGHTMARGIN" val="28.3465"/>
  <p:tag name="MASTERBOTTOMMARGIN" val="70.8661"/>
  <p:tag name="CUSTMASTERTOPMARGIN" val="141.7323"/>
  <p:tag name="CUSTMASTERLEFTMARGIN" val="28.3465"/>
  <p:tag name="CUSTMASTERRIGHTMARGIN" val="28.3465"/>
  <p:tag name="CUSTMASTERBOTTOMMARGIN" val="70.8661"/>
  <p:tag name="GUIDECOLS" val="3"/>
  <p:tag name="GUIDEROWS" val="1"/>
  <p:tag name="GUTTERCOL" val="0.6 cm"/>
  <p:tag name="GUTTERROW" val="0.6 cm"/>
  <p:tag name="GUIDESAPPLIEDTO" val="2"/>
</p:tagLst>
</file>

<file path=ppt/tags/tag32.xml><?xml version="1.0" encoding="utf-8"?>
<p:tagLst xmlns:a="http://schemas.openxmlformats.org/drawingml/2006/main" xmlns:r="http://schemas.openxmlformats.org/officeDocument/2006/relationships" xmlns:p="http://schemas.openxmlformats.org/presentationml/2006/main">
  <p:tag name="GUIDECOLS" val="4"/>
  <p:tag name="GUIDEROWS" val="1"/>
  <p:tag name="GUTTERCOL" val="0.6 cm"/>
  <p:tag name="GUTTERROW" val="0.6 cm"/>
  <p:tag name="GUIDESAPPLIEDTO" val="2"/>
</p:tagLst>
</file>

<file path=ppt/tags/tag33.xml><?xml version="1.0" encoding="utf-8"?>
<p:tagLst xmlns:a="http://schemas.openxmlformats.org/drawingml/2006/main" xmlns:r="http://schemas.openxmlformats.org/officeDocument/2006/relationships" xmlns:p="http://schemas.openxmlformats.org/presentationml/2006/main">
  <p:tag name="MASTERTOPMARGIN" val="141.7323"/>
  <p:tag name="MASTERLEFTMARGIN" val="28.3465"/>
  <p:tag name="MASTERRIGHTMARGIN" val="28.3465"/>
  <p:tag name="MASTERBOTTOMMARGIN" val="70.8661"/>
  <p:tag name="CUSTMASTERTOPMARGIN" val="141.7323"/>
  <p:tag name="CUSTMASTERLEFTMARGIN" val="28.3465"/>
  <p:tag name="CUSTMASTERRIGHTMARGIN" val="28.3465"/>
  <p:tag name="CUSTMASTERBOTTOMMARGIN" val="70.8661"/>
  <p:tag name="GUIDECOLS" val="2"/>
  <p:tag name="GUIDEROWS" val="1"/>
  <p:tag name="GUTTERCOL" val="0.6 cm"/>
  <p:tag name="GUTTERROW" val="0.6 cm"/>
  <p:tag name="GUIDESAPPLIEDTO" val="2"/>
</p:tagLst>
</file>

<file path=ppt/tags/tag34.xml><?xml version="1.0" encoding="utf-8"?>
<p:tagLst xmlns:a="http://schemas.openxmlformats.org/drawingml/2006/main" xmlns:r="http://schemas.openxmlformats.org/officeDocument/2006/relationships" xmlns:p="http://schemas.openxmlformats.org/presentationml/2006/main">
  <p:tag name="MASTERTOPMARGIN" val="141.7323"/>
  <p:tag name="MASTERLEFTMARGIN" val="28.3465"/>
  <p:tag name="MASTERRIGHTMARGIN" val="28.3465"/>
  <p:tag name="MASTERBOTTOMMARGIN" val="70.8661"/>
  <p:tag name="CUSTMASTERTOPMARGIN" val="141.7323"/>
  <p:tag name="CUSTMASTERLEFTMARGIN" val="28.3465"/>
  <p:tag name="CUSTMASTERRIGHTMARGIN" val="28.3465"/>
  <p:tag name="CUSTMASTERBOTTOMMARGIN" val="70.8661"/>
  <p:tag name="GUIDECOLS" val="2"/>
  <p:tag name="GUIDEROWS" val="1"/>
  <p:tag name="GUTTERCOL" val="0.6 cm"/>
  <p:tag name="GUTTERROW" val="0.6 cm"/>
  <p:tag name="GUIDESAPPLIEDTO" val="2"/>
</p:tagLst>
</file>

<file path=ppt/tags/tag35.xml><?xml version="1.0" encoding="utf-8"?>
<p:tagLst xmlns:a="http://schemas.openxmlformats.org/drawingml/2006/main" xmlns:r="http://schemas.openxmlformats.org/officeDocument/2006/relationships" xmlns:p="http://schemas.openxmlformats.org/presentationml/2006/main">
  <p:tag name="MASTERTOPMARGIN" val="141.7323"/>
  <p:tag name="MASTERLEFTMARGIN" val="28.3465"/>
  <p:tag name="MASTERRIGHTMARGIN" val="28.3465"/>
  <p:tag name="MASTERBOTTOMMARGIN" val="70.8661"/>
  <p:tag name="CUSTMASTERTOPMARGIN" val="141.7323"/>
  <p:tag name="CUSTMASTERLEFTMARGIN" val="28.3465"/>
  <p:tag name="CUSTMASTERRIGHTMARGIN" val="28.3465"/>
  <p:tag name="CUSTMASTERBOTTOMMARGIN" val="70.8661"/>
  <p:tag name="GUIDECOLS" val="2"/>
  <p:tag name="GUIDEROWS" val="1"/>
  <p:tag name="GUTTERCOL" val="0.6 cm"/>
  <p:tag name="GUTTERROW" val="0.6 cm"/>
  <p:tag name="GUIDESAPPLIEDTO" val="2"/>
</p:tagLst>
</file>

<file path=ppt/tags/tag36.xml><?xml version="1.0" encoding="utf-8"?>
<p:tagLst xmlns:a="http://schemas.openxmlformats.org/drawingml/2006/main" xmlns:r="http://schemas.openxmlformats.org/officeDocument/2006/relationships" xmlns:p="http://schemas.openxmlformats.org/presentationml/2006/main">
  <p:tag name="GUIDECOLS" val="6"/>
  <p:tag name="GUIDEROWS" val="1"/>
  <p:tag name="GUTTERCOL" val="0.6 cm"/>
  <p:tag name="GUTTERROW" val="0.6 cm"/>
  <p:tag name="GUIDESAPPLIEDTO" val="2"/>
</p:tagLst>
</file>

<file path=ppt/tags/tag37.xml><?xml version="1.0" encoding="utf-8"?>
<p:tagLst xmlns:a="http://schemas.openxmlformats.org/drawingml/2006/main" xmlns:r="http://schemas.openxmlformats.org/officeDocument/2006/relationships" xmlns:p="http://schemas.openxmlformats.org/presentationml/2006/main">
  <p:tag name="GUIDECOLS" val="1"/>
  <p:tag name="GUIDEROWS" val="1"/>
  <p:tag name="GUTTERCOL" val="0.6 cm"/>
  <p:tag name="GUTTERROW" val="0.6 cm"/>
  <p:tag name="GUIDESAPPLIEDTO" val="2"/>
</p:tagLst>
</file>

<file path=ppt/tags/tag38.xml><?xml version="1.0" encoding="utf-8"?>
<p:tagLst xmlns:a="http://schemas.openxmlformats.org/drawingml/2006/main" xmlns:r="http://schemas.openxmlformats.org/officeDocument/2006/relationships" xmlns:p="http://schemas.openxmlformats.org/presentationml/2006/main">
  <p:tag name="GUIDECOLS" val="6"/>
  <p:tag name="GUIDEROWS" val="1"/>
  <p:tag name="GUTTERCOL" val="0.6 cm"/>
  <p:tag name="GUTTERROW" val="0.6 cm"/>
  <p:tag name="GUIDESAPPLIEDTO" val="2"/>
</p:tagLst>
</file>

<file path=ppt/tags/tag39.xml><?xml version="1.0" encoding="utf-8"?>
<p:tagLst xmlns:a="http://schemas.openxmlformats.org/drawingml/2006/main" xmlns:r="http://schemas.openxmlformats.org/officeDocument/2006/relationships" xmlns:p="http://schemas.openxmlformats.org/presentationml/2006/main">
  <p:tag name="GUIDECOLS" val="6"/>
  <p:tag name="GUIDEROWS" val="1"/>
  <p:tag name="GUTTERCOL" val="0.6 cm"/>
  <p:tag name="GUTTERROW" val="0.6 cm"/>
  <p:tag name="GUIDESAPPLIEDTO" val="2"/>
</p:tagLst>
</file>

<file path=ppt/tags/tag4.xml><?xml version="1.0" encoding="utf-8"?>
<p:tagLst xmlns:a="http://schemas.openxmlformats.org/drawingml/2006/main" xmlns:r="http://schemas.openxmlformats.org/officeDocument/2006/relationships" xmlns:p="http://schemas.openxmlformats.org/presentationml/2006/main">
  <p:tag name="GUIDESAPPLIEDTO" val="2"/>
  <p:tag name="GUIDECOLS" val="1"/>
  <p:tag name="GUIDEROWS" val="1"/>
  <p:tag name="GUTTERCOL" val="0.6"/>
  <p:tag name="GUTTERROW" val="0.6"/>
</p:tagLst>
</file>

<file path=ppt/tags/tag40.xml><?xml version="1.0" encoding="utf-8"?>
<p:tagLst xmlns:a="http://schemas.openxmlformats.org/drawingml/2006/main" xmlns:r="http://schemas.openxmlformats.org/officeDocument/2006/relationships" xmlns:p="http://schemas.openxmlformats.org/presentationml/2006/main">
  <p:tag name="GUIDECOLS" val="6"/>
  <p:tag name="GUIDEROWS" val="1"/>
  <p:tag name="GUTTERCOL" val="0.6 cm"/>
  <p:tag name="GUTTERROW" val="0.6 cm"/>
  <p:tag name="GUIDESAPPLIEDTO" val="2"/>
</p:tagLst>
</file>

<file path=ppt/tags/tag41.xml><?xml version="1.0" encoding="utf-8"?>
<p:tagLst xmlns:a="http://schemas.openxmlformats.org/drawingml/2006/main" xmlns:r="http://schemas.openxmlformats.org/officeDocument/2006/relationships" xmlns:p="http://schemas.openxmlformats.org/presentationml/2006/main">
  <p:tag name="GUIDECOLS" val="4"/>
  <p:tag name="GUIDEROWS" val="1"/>
  <p:tag name="GUTTERCOL" val="0.6 cm"/>
  <p:tag name="GUTTERROW" val="0.6 cm"/>
  <p:tag name="GUIDESAPPLIEDTO" val="2"/>
</p:tagLst>
</file>

<file path=ppt/tags/tag42.xml><?xml version="1.0" encoding="utf-8"?>
<p:tagLst xmlns:a="http://schemas.openxmlformats.org/drawingml/2006/main" xmlns:r="http://schemas.openxmlformats.org/officeDocument/2006/relationships" xmlns:p="http://schemas.openxmlformats.org/presentationml/2006/main">
  <p:tag name="GUIDECOLS" val="6"/>
  <p:tag name="GUIDEROWS" val="1"/>
  <p:tag name="GUTTERCOL" val="0.6 cm"/>
  <p:tag name="GUTTERROW" val="0.6 cm"/>
  <p:tag name="GUIDESAPPLIEDTO" val="2"/>
</p:tagLst>
</file>

<file path=ppt/tags/tag43.xml><?xml version="1.0" encoding="utf-8"?>
<p:tagLst xmlns:a="http://schemas.openxmlformats.org/drawingml/2006/main" xmlns:r="http://schemas.openxmlformats.org/officeDocument/2006/relationships" xmlns:p="http://schemas.openxmlformats.org/presentationml/2006/main">
  <p:tag name="GUIDECOLS" val="6"/>
  <p:tag name="GUIDEROWS" val="1"/>
  <p:tag name="GUTTERCOL" val="0.6 cm"/>
  <p:tag name="GUTTERROW" val="0.6 cm"/>
  <p:tag name="GUIDESAPPLIEDTO" val="2"/>
</p:tagLst>
</file>

<file path=ppt/tags/tag44.xml><?xml version="1.0" encoding="utf-8"?>
<p:tagLst xmlns:a="http://schemas.openxmlformats.org/drawingml/2006/main" xmlns:r="http://schemas.openxmlformats.org/officeDocument/2006/relationships" xmlns:p="http://schemas.openxmlformats.org/presentationml/2006/main">
  <p:tag name="GUIDECOLS" val="6"/>
  <p:tag name="GUIDEROWS" val="1"/>
  <p:tag name="GUTTERCOL" val="0.6 cm"/>
  <p:tag name="GUTTERROW" val="0.6 cm"/>
  <p:tag name="GUIDESAPPLIEDTO" val="2"/>
</p:tagLst>
</file>

<file path=ppt/tags/tag45.xml><?xml version="1.0" encoding="utf-8"?>
<p:tagLst xmlns:a="http://schemas.openxmlformats.org/drawingml/2006/main" xmlns:r="http://schemas.openxmlformats.org/officeDocument/2006/relationships" xmlns:p="http://schemas.openxmlformats.org/presentationml/2006/main">
  <p:tag name="GUIDECOLS" val="6"/>
  <p:tag name="GUIDEROWS" val="1"/>
  <p:tag name="GUTTERCOL" val="0.6 cm"/>
  <p:tag name="GUTTERROW" val="0.6 cm"/>
  <p:tag name="GUIDESAPPLIEDTO" val="2"/>
</p:tagLst>
</file>

<file path=ppt/tags/tag46.xml><?xml version="1.0" encoding="utf-8"?>
<p:tagLst xmlns:a="http://schemas.openxmlformats.org/drawingml/2006/main" xmlns:r="http://schemas.openxmlformats.org/officeDocument/2006/relationships" xmlns:p="http://schemas.openxmlformats.org/presentationml/2006/main">
  <p:tag name="GUIDECOLS" val="6"/>
  <p:tag name="GUIDEROWS" val="1"/>
  <p:tag name="GUTTERCOL" val="0.6 cm"/>
  <p:tag name="GUTTERROW" val="0.6 cm"/>
  <p:tag name="GUIDESAPPLIEDTO" val="2"/>
</p:tagLst>
</file>

<file path=ppt/tags/tag47.xml><?xml version="1.0" encoding="utf-8"?>
<p:tagLst xmlns:a="http://schemas.openxmlformats.org/drawingml/2006/main" xmlns:r="http://schemas.openxmlformats.org/officeDocument/2006/relationships" xmlns:p="http://schemas.openxmlformats.org/presentationml/2006/main">
  <p:tag name="GUIDECOLS" val="1"/>
  <p:tag name="GUIDEROWS" val="1"/>
  <p:tag name="GUTTERCOL" val="0.6 cm"/>
  <p:tag name="GUTTERROW" val="0.6 cm"/>
  <p:tag name="GUIDESAPPLIEDTO" val="2"/>
</p:tagLst>
</file>

<file path=ppt/tags/tag48.xml><?xml version="1.0" encoding="utf-8"?>
<p:tagLst xmlns:a="http://schemas.openxmlformats.org/drawingml/2006/main" xmlns:r="http://schemas.openxmlformats.org/officeDocument/2006/relationships" xmlns:p="http://schemas.openxmlformats.org/presentationml/2006/main">
  <p:tag name="GUIDECOLS" val="1"/>
  <p:tag name="GUIDEROWS" val="1"/>
  <p:tag name="GUTTERCOL" val="0.6 cm"/>
  <p:tag name="GUTTERROW" val="0.6 cm"/>
  <p:tag name="GUIDESAPPLIEDTO" val="2"/>
</p:tagLst>
</file>

<file path=ppt/tags/tag49.xml><?xml version="1.0" encoding="utf-8"?>
<p:tagLst xmlns:a="http://schemas.openxmlformats.org/drawingml/2006/main" xmlns:r="http://schemas.openxmlformats.org/officeDocument/2006/relationships" xmlns:p="http://schemas.openxmlformats.org/presentationml/2006/main">
  <p:tag name="GUIDECOLS" val="1"/>
  <p:tag name="GUIDEROWS" val="1"/>
  <p:tag name="GUTTERCOL" val="0.6 cm"/>
  <p:tag name="GUTTERROW" val="0.6 cm"/>
  <p:tag name="GUIDESAPPLIEDTO" val="2"/>
</p:tagLst>
</file>

<file path=ppt/tags/tag5.xml><?xml version="1.0" encoding="utf-8"?>
<p:tagLst xmlns:a="http://schemas.openxmlformats.org/drawingml/2006/main" xmlns:r="http://schemas.openxmlformats.org/officeDocument/2006/relationships" xmlns:p="http://schemas.openxmlformats.org/presentationml/2006/main">
  <p:tag name="GUIDECOLS" val="3"/>
  <p:tag name="GUIDEROWS" val="1"/>
  <p:tag name="GUTTERCOL" val="0.6 cm"/>
  <p:tag name="GUTTERROW" val="0.6 cm"/>
  <p:tag name="GUIDESAPPLIEDTO" val="2"/>
</p:tagLst>
</file>

<file path=ppt/tags/tag50.xml><?xml version="1.0" encoding="utf-8"?>
<p:tagLst xmlns:a="http://schemas.openxmlformats.org/drawingml/2006/main" xmlns:r="http://schemas.openxmlformats.org/officeDocument/2006/relationships" xmlns:p="http://schemas.openxmlformats.org/presentationml/2006/main">
  <p:tag name="GUIDECOLS" val="1"/>
  <p:tag name="GUIDEROWS" val="1"/>
  <p:tag name="GUTTERCOL" val="0.6 cm"/>
  <p:tag name="GUTTERROW" val="0.6 cm"/>
  <p:tag name="GUIDESAPPLIEDTO" val="2"/>
</p:tagLst>
</file>

<file path=ppt/tags/tag51.xml><?xml version="1.0" encoding="utf-8"?>
<p:tagLst xmlns:a="http://schemas.openxmlformats.org/drawingml/2006/main" xmlns:r="http://schemas.openxmlformats.org/officeDocument/2006/relationships" xmlns:p="http://schemas.openxmlformats.org/presentationml/2006/main">
  <p:tag name="GUIDECOLS" val="1"/>
  <p:tag name="GUIDEROWS" val="1"/>
  <p:tag name="GUTTERCOL" val="0.6 cm"/>
  <p:tag name="GUTTERROW" val="0.6 cm"/>
  <p:tag name="GUIDESAPPLIEDTO" val="2"/>
</p:tagLst>
</file>

<file path=ppt/tags/tag52.xml><?xml version="1.0" encoding="utf-8"?>
<p:tagLst xmlns:a="http://schemas.openxmlformats.org/drawingml/2006/main" xmlns:r="http://schemas.openxmlformats.org/officeDocument/2006/relationships" xmlns:p="http://schemas.openxmlformats.org/presentationml/2006/main">
  <p:tag name="GUIDECOLS" val="1"/>
  <p:tag name="GUIDEROWS" val="1"/>
  <p:tag name="GUTTERCOL" val="0.6 cm"/>
  <p:tag name="GUTTERROW" val="0.6 cm"/>
  <p:tag name="GUIDESAPPLIEDTO" val="2"/>
</p:tagLst>
</file>

<file path=ppt/tags/tag53.xml><?xml version="1.0" encoding="utf-8"?>
<p:tagLst xmlns:a="http://schemas.openxmlformats.org/drawingml/2006/main" xmlns:r="http://schemas.openxmlformats.org/officeDocument/2006/relationships" xmlns:p="http://schemas.openxmlformats.org/presentationml/2006/main">
  <p:tag name="GUIDECOLS" val="1"/>
  <p:tag name="GUIDEROWS" val="1"/>
  <p:tag name="GUTTERCOL" val="0.6 cm"/>
  <p:tag name="GUTTERROW" val="0.6 cm"/>
  <p:tag name="GUIDESAPPLIEDTO" val="2"/>
</p:tagLst>
</file>

<file path=ppt/tags/tag54.xml><?xml version="1.0" encoding="utf-8"?>
<p:tagLst xmlns:a="http://schemas.openxmlformats.org/drawingml/2006/main" xmlns:r="http://schemas.openxmlformats.org/officeDocument/2006/relationships" xmlns:p="http://schemas.openxmlformats.org/presentationml/2006/main">
  <p:tag name="GUIDECOLS" val="1"/>
  <p:tag name="GUIDEROWS" val="1"/>
  <p:tag name="GUTTERCOL" val="0.6 cm"/>
  <p:tag name="GUTTERROW" val="0.6 cm"/>
  <p:tag name="GUIDESAPPLIEDTO" val="2"/>
</p:tagLst>
</file>

<file path=ppt/tags/tag55.xml><?xml version="1.0" encoding="utf-8"?>
<p:tagLst xmlns:a="http://schemas.openxmlformats.org/drawingml/2006/main" xmlns:r="http://schemas.openxmlformats.org/officeDocument/2006/relationships" xmlns:p="http://schemas.openxmlformats.org/presentationml/2006/main">
  <p:tag name="GUIDECOLS" val="1"/>
  <p:tag name="GUIDEROWS" val="1"/>
  <p:tag name="GUTTERCOL" val="0.6 cm"/>
  <p:tag name="GUTTERROW" val="0.6 cm"/>
  <p:tag name="GUIDESAPPLIEDTO" val="2"/>
</p:tagLst>
</file>

<file path=ppt/tags/tag56.xml><?xml version="1.0" encoding="utf-8"?>
<p:tagLst xmlns:a="http://schemas.openxmlformats.org/drawingml/2006/main" xmlns:r="http://schemas.openxmlformats.org/officeDocument/2006/relationships" xmlns:p="http://schemas.openxmlformats.org/presentationml/2006/main">
  <p:tag name="GUIDECOLS" val="1"/>
  <p:tag name="GUIDEROWS" val="1"/>
  <p:tag name="GUTTERCOL" val="0.6 cm"/>
  <p:tag name="GUTTERROW" val="0.6 cm"/>
  <p:tag name="GUIDESAPPLIEDTO" val="2"/>
</p:tagLst>
</file>

<file path=ppt/tags/tag57.xml><?xml version="1.0" encoding="utf-8"?>
<p:tagLst xmlns:a="http://schemas.openxmlformats.org/drawingml/2006/main" xmlns:r="http://schemas.openxmlformats.org/officeDocument/2006/relationships" xmlns:p="http://schemas.openxmlformats.org/presentationml/2006/main">
  <p:tag name="GUIDECOLS" val="2"/>
  <p:tag name="GUIDEROWS" val="1"/>
  <p:tag name="GUTTERCOL" val="0.6 cm"/>
  <p:tag name="GUTTERROW" val="0.6 cm"/>
  <p:tag name="GUIDESAPPLIEDTO" val="2"/>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GUIDESAPPLIEDTO" val="2"/>
  <p:tag name="GUTTERROW" val="0.6 cm"/>
  <p:tag name="GUTTERCOL" val="0.6 cm"/>
  <p:tag name="GUIDEROWS" val="1"/>
  <p:tag name="GUIDECOLS" val="3"/>
</p:tagLst>
</file>

<file path=ppt/tags/tag7.xml><?xml version="1.0" encoding="utf-8"?>
<p:tagLst xmlns:a="http://schemas.openxmlformats.org/drawingml/2006/main" xmlns:r="http://schemas.openxmlformats.org/officeDocument/2006/relationships" xmlns:p="http://schemas.openxmlformats.org/presentationml/2006/main">
  <p:tag name="GUIDESAPPLIEDTO" val="2"/>
  <p:tag name="GUTTERROW" val="0.6 cm"/>
  <p:tag name="GUTTERCOL" val="0.6 cm"/>
  <p:tag name="GUIDEROWS" val="1"/>
  <p:tag name="GUIDECOLS" val="3"/>
</p:tagLst>
</file>

<file path=ppt/tags/tag8.xml><?xml version="1.0" encoding="utf-8"?>
<p:tagLst xmlns:a="http://schemas.openxmlformats.org/drawingml/2006/main" xmlns:r="http://schemas.openxmlformats.org/officeDocument/2006/relationships" xmlns:p="http://schemas.openxmlformats.org/presentationml/2006/main">
  <p:tag name="GUIDECOLS" val="3"/>
  <p:tag name="GUIDEROWS" val="1"/>
  <p:tag name="GUTTERCOL" val="0.6 cm"/>
  <p:tag name="GUTTERROW" val="0.6 cm"/>
  <p:tag name="GUIDESAPPLIEDTO" val="2"/>
</p:tagLst>
</file>

<file path=ppt/tags/tag9.xml><?xml version="1.0" encoding="utf-8"?>
<p:tagLst xmlns:a="http://schemas.openxmlformats.org/drawingml/2006/main" xmlns:r="http://schemas.openxmlformats.org/officeDocument/2006/relationships" xmlns:p="http://schemas.openxmlformats.org/presentationml/2006/main">
  <p:tag name="GUIDECOLS" val="3"/>
  <p:tag name="GUIDEROWS" val="1"/>
  <p:tag name="GUTTERCOL" val="0.6 cm"/>
  <p:tag name="GUTTERROW" val="0.6 cm"/>
  <p:tag name="GUIDESAPPLIEDTO" val="2"/>
</p:tagLst>
</file>

<file path=ppt/theme/theme1.xml><?xml version="1.0" encoding="utf-8"?>
<a:theme xmlns:a="http://schemas.openxmlformats.org/drawingml/2006/main" name="Office Theme">
  <a:themeElements>
    <a:clrScheme name="__Global Fund">
      <a:dk1>
        <a:sysClr val="windowText" lastClr="000000"/>
      </a:dk1>
      <a:lt1>
        <a:sysClr val="window" lastClr="FFFFFF"/>
      </a:lt1>
      <a:dk2>
        <a:srgbClr val="939393"/>
      </a:dk2>
      <a:lt2>
        <a:srgbClr val="D1D3D4"/>
      </a:lt2>
      <a:accent1>
        <a:srgbClr val="EE0C3D"/>
      </a:accent1>
      <a:accent2>
        <a:srgbClr val="2E4DF9"/>
      </a:accent2>
      <a:accent3>
        <a:srgbClr val="FAD90D"/>
      </a:accent3>
      <a:accent4>
        <a:srgbClr val="44CC36"/>
      </a:accent4>
      <a:accent5>
        <a:srgbClr val="FC9B00"/>
      </a:accent5>
      <a:accent6>
        <a:srgbClr val="8C29D3"/>
      </a:accent6>
      <a:hlink>
        <a:srgbClr val="EE0C3D"/>
      </a:hlink>
      <a:folHlink>
        <a:srgbClr val="2E4DF9"/>
      </a:folHlink>
    </a:clrScheme>
    <a:fontScheme name="The Global Fund">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potx" id="{0E450436-E164-4C98-91D5-B61F304C1443}" vid="{06F56BEF-E294-4202-A558-926633D5E1E6}"/>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webextensions/_rels/taskpanes.xml.rels><?xml version="1.0" encoding="UTF-8" standalone="yes"?>
<Relationships xmlns="http://schemas.openxmlformats.org/package/2006/relationships"><Relationship Id="rId1" Type="http://schemas.microsoft.com/office/2011/relationships/webextension" Target="webextension1.xml"/></Relationships>
</file>

<file path=ppt/webextensions/taskpanes.xml><?xml version="1.0" encoding="utf-8"?>
<wetp:taskpanes xmlns:wetp="http://schemas.microsoft.com/office/webextensions/taskpanes/2010/11">
  <wetp:taskpane dockstate="right" visibility="0" width="438" row="2">
    <wetp:webextensionref xmlns:r="http://schemas.openxmlformats.org/officeDocument/2006/relationships" r:id="rId1"/>
  </wetp:taskpane>
</wetp:taskpanes>
</file>

<file path=ppt/webextensions/webextension1.xml><?xml version="1.0" encoding="utf-8"?>
<we:webextension xmlns:we="http://schemas.microsoft.com/office/webextensions/webextension/2010/11" id="{18070DDA-1ED5-4D38-A9B5-D4CBB88B7F5D}">
  <we:reference id="f1abd87f-a3ba-42fb-91d5-100000000000" version="1.0.0.6" store="EXCatalog" storeType="EXCatalog"/>
  <we:alternateReferences>
    <we:reference id="WA104380278" version="1.0.0.6" store="en-US" storeType="OMEX"/>
  </we:alternateReferences>
  <we:properties/>
  <we:bindings/>
  <we:snapshot xmlns:r="http://schemas.openxmlformats.org/officeDocument/2006/relationships"/>
</we:webextension>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10.xml.rels><?xml version="1.0" encoding="UTF-8" standalone="yes"?>
<Relationships xmlns="http://schemas.openxmlformats.org/package/2006/relationships"><Relationship Id="rId1" Type="http://schemas.openxmlformats.org/officeDocument/2006/relationships/customXmlProps" Target="itemProps10.xml"/></Relationships>
</file>

<file path=customXml/_rels/item11.xml.rels><?xml version="1.0" encoding="UTF-8" standalone="yes"?>
<Relationships xmlns="http://schemas.openxmlformats.org/package/2006/relationships"><Relationship Id="rId1" Type="http://schemas.openxmlformats.org/officeDocument/2006/relationships/customXmlProps" Target="itemProps11.xml"/></Relationships>
</file>

<file path=customXml/_rels/item12.xml.rels><?xml version="1.0" encoding="UTF-8" standalone="yes"?>
<Relationships xmlns="http://schemas.openxmlformats.org/package/2006/relationships"><Relationship Id="rId1" Type="http://schemas.openxmlformats.org/officeDocument/2006/relationships/customXmlProps" Target="itemProps12.xml"/></Relationships>
</file>

<file path=customXml/_rels/item13.xml.rels><?xml version="1.0" encoding="UTF-8" standalone="yes"?>
<Relationships xmlns="http://schemas.openxmlformats.org/package/2006/relationships"><Relationship Id="rId1" Type="http://schemas.openxmlformats.org/officeDocument/2006/relationships/customXmlProps" Target="itemProps13.xml"/></Relationships>
</file>

<file path=customXml/_rels/item14.xml.rels><?xml version="1.0" encoding="UTF-8" standalone="yes"?>
<Relationships xmlns="http://schemas.openxmlformats.org/package/2006/relationships"><Relationship Id="rId1" Type="http://schemas.openxmlformats.org/officeDocument/2006/relationships/customXmlProps" Target="itemProps14.xml"/></Relationships>
</file>

<file path=customXml/_rels/item15.xml.rels><?xml version="1.0" encoding="UTF-8" standalone="yes"?>
<Relationships xmlns="http://schemas.openxmlformats.org/package/2006/relationships"><Relationship Id="rId1" Type="http://schemas.openxmlformats.org/officeDocument/2006/relationships/customXmlProps" Target="itemProps15.xml"/></Relationships>
</file>

<file path=customXml/_rels/item16.xml.rels><?xml version="1.0" encoding="UTF-8" standalone="yes"?>
<Relationships xmlns="http://schemas.openxmlformats.org/package/2006/relationships"><Relationship Id="rId1" Type="http://schemas.openxmlformats.org/officeDocument/2006/relationships/customXmlProps" Target="itemProps16.xml"/></Relationships>
</file>

<file path=customXml/_rels/item17.xml.rels><?xml version="1.0" encoding="UTF-8" standalone="yes"?>
<Relationships xmlns="http://schemas.openxmlformats.org/package/2006/relationships"><Relationship Id="rId1" Type="http://schemas.openxmlformats.org/officeDocument/2006/relationships/customXmlProps" Target="itemProps17.xml"/></Relationships>
</file>

<file path=customXml/_rels/item18.xml.rels><?xml version="1.0" encoding="UTF-8" standalone="yes"?>
<Relationships xmlns="http://schemas.openxmlformats.org/package/2006/relationships"><Relationship Id="rId1" Type="http://schemas.openxmlformats.org/officeDocument/2006/relationships/customXmlProps" Target="itemProps18.xml"/></Relationships>
</file>

<file path=customXml/_rels/item19.xml.rels><?xml version="1.0" encoding="UTF-8" standalone="yes"?>
<Relationships xmlns="http://schemas.openxmlformats.org/package/2006/relationships"><Relationship Id="rId1" Type="http://schemas.openxmlformats.org/officeDocument/2006/relationships/customXmlProps" Target="itemProps19.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20.xml.rels><?xml version="1.0" encoding="UTF-8" standalone="yes"?>
<Relationships xmlns="http://schemas.openxmlformats.org/package/2006/relationships"><Relationship Id="rId1" Type="http://schemas.openxmlformats.org/officeDocument/2006/relationships/customXmlProps" Target="itemProps20.xml"/></Relationships>
</file>

<file path=customXml/_rels/item21.xml.rels><?xml version="1.0" encoding="UTF-8" standalone="yes"?>
<Relationships xmlns="http://schemas.openxmlformats.org/package/2006/relationships"><Relationship Id="rId1" Type="http://schemas.openxmlformats.org/officeDocument/2006/relationships/customXmlProps" Target="itemProps21.xml"/></Relationships>
</file>

<file path=customXml/_rels/item22.xml.rels><?xml version="1.0" encoding="UTF-8" standalone="yes"?>
<Relationships xmlns="http://schemas.openxmlformats.org/package/2006/relationships"><Relationship Id="rId1" Type="http://schemas.openxmlformats.org/officeDocument/2006/relationships/customXmlProps" Target="itemProps22.xml"/></Relationships>
</file>

<file path=customXml/_rels/item23.xml.rels><?xml version="1.0" encoding="UTF-8" standalone="yes"?>
<Relationships xmlns="http://schemas.openxmlformats.org/package/2006/relationships"><Relationship Id="rId1" Type="http://schemas.openxmlformats.org/officeDocument/2006/relationships/customXmlProps" Target="itemProps23.xml"/></Relationships>
</file>

<file path=customXml/_rels/item24.xml.rels><?xml version="1.0" encoding="UTF-8" standalone="yes"?>
<Relationships xmlns="http://schemas.openxmlformats.org/package/2006/relationships"><Relationship Id="rId1" Type="http://schemas.openxmlformats.org/officeDocument/2006/relationships/customXmlProps" Target="itemProps24.xml"/></Relationships>
</file>

<file path=customXml/_rels/item25.xml.rels><?xml version="1.0" encoding="UTF-8" standalone="yes"?>
<Relationships xmlns="http://schemas.openxmlformats.org/package/2006/relationships"><Relationship Id="rId1" Type="http://schemas.openxmlformats.org/officeDocument/2006/relationships/customXmlProps" Target="itemProps25.xml"/></Relationships>
</file>

<file path=customXml/_rels/item26.xml.rels><?xml version="1.0" encoding="UTF-8" standalone="yes"?>
<Relationships xmlns="http://schemas.openxmlformats.org/package/2006/relationships"><Relationship Id="rId1" Type="http://schemas.openxmlformats.org/officeDocument/2006/relationships/customXmlProps" Target="itemProps26.xml"/></Relationships>
</file>

<file path=customXml/_rels/item27.xml.rels><?xml version="1.0" encoding="UTF-8" standalone="yes"?>
<Relationships xmlns="http://schemas.openxmlformats.org/package/2006/relationships"><Relationship Id="rId1" Type="http://schemas.openxmlformats.org/officeDocument/2006/relationships/customXmlProps" Target="itemProps27.xml"/></Relationships>
</file>

<file path=customXml/_rels/item28.xml.rels><?xml version="1.0" encoding="UTF-8" standalone="yes"?>
<Relationships xmlns="http://schemas.openxmlformats.org/package/2006/relationships"><Relationship Id="rId1" Type="http://schemas.openxmlformats.org/officeDocument/2006/relationships/customXmlProps" Target="itemProps28.xml"/></Relationships>
</file>

<file path=customXml/_rels/item29.xml.rels><?xml version="1.0" encoding="UTF-8" standalone="yes"?>
<Relationships xmlns="http://schemas.openxmlformats.org/package/2006/relationships"><Relationship Id="rId1" Type="http://schemas.openxmlformats.org/officeDocument/2006/relationships/customXmlProps" Target="itemProps29.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30.xml.rels><?xml version="1.0" encoding="UTF-8" standalone="yes"?>
<Relationships xmlns="http://schemas.openxmlformats.org/package/2006/relationships"><Relationship Id="rId1" Type="http://schemas.openxmlformats.org/officeDocument/2006/relationships/customXmlProps" Target="itemProps30.xml"/></Relationships>
</file>

<file path=customXml/_rels/item31.xml.rels><?xml version="1.0" encoding="UTF-8" standalone="yes"?>
<Relationships xmlns="http://schemas.openxmlformats.org/package/2006/relationships"><Relationship Id="rId1" Type="http://schemas.openxmlformats.org/officeDocument/2006/relationships/customXmlProps" Target="itemProps31.xml"/></Relationships>
</file>

<file path=customXml/_rels/item32.xml.rels><?xml version="1.0" encoding="UTF-8" standalone="yes"?>
<Relationships xmlns="http://schemas.openxmlformats.org/package/2006/relationships"><Relationship Id="rId1" Type="http://schemas.openxmlformats.org/officeDocument/2006/relationships/customXmlProps" Target="itemProps32.xml"/></Relationships>
</file>

<file path=customXml/_rels/item33.xml.rels><?xml version="1.0" encoding="UTF-8" standalone="yes"?>
<Relationships xmlns="http://schemas.openxmlformats.org/package/2006/relationships"><Relationship Id="rId1" Type="http://schemas.openxmlformats.org/officeDocument/2006/relationships/customXmlProps" Target="itemProps33.xml"/></Relationships>
</file>

<file path=customXml/_rels/item34.xml.rels><?xml version="1.0" encoding="UTF-8" standalone="yes"?>
<Relationships xmlns="http://schemas.openxmlformats.org/package/2006/relationships"><Relationship Id="rId1" Type="http://schemas.openxmlformats.org/officeDocument/2006/relationships/customXmlProps" Target="itemProps34.xml"/></Relationships>
</file>

<file path=customXml/_rels/item35.xml.rels><?xml version="1.0" encoding="UTF-8" standalone="yes"?>
<Relationships xmlns="http://schemas.openxmlformats.org/package/2006/relationships"><Relationship Id="rId1" Type="http://schemas.openxmlformats.org/officeDocument/2006/relationships/customXmlProps" Target="itemProps35.xml"/></Relationships>
</file>

<file path=customXml/_rels/item36.xml.rels><?xml version="1.0" encoding="UTF-8" standalone="yes"?>
<Relationships xmlns="http://schemas.openxmlformats.org/package/2006/relationships"><Relationship Id="rId1" Type="http://schemas.openxmlformats.org/officeDocument/2006/relationships/customXmlProps" Target="itemProps36.xml"/></Relationships>
</file>

<file path=customXml/_rels/item37.xml.rels><?xml version="1.0" encoding="UTF-8" standalone="yes"?>
<Relationships xmlns="http://schemas.openxmlformats.org/package/2006/relationships"><Relationship Id="rId1" Type="http://schemas.openxmlformats.org/officeDocument/2006/relationships/customXmlProps" Target="itemProps37.xml"/></Relationships>
</file>

<file path=customXml/_rels/item38.xml.rels><?xml version="1.0" encoding="UTF-8" standalone="yes"?>
<Relationships xmlns="http://schemas.openxmlformats.org/package/2006/relationships"><Relationship Id="rId1" Type="http://schemas.openxmlformats.org/officeDocument/2006/relationships/customXmlProps" Target="itemProps38.xml"/></Relationships>
</file>

<file path=customXml/_rels/item39.xml.rels><?xml version="1.0" encoding="UTF-8" standalone="yes"?>
<Relationships xmlns="http://schemas.openxmlformats.org/package/2006/relationships"><Relationship Id="rId1" Type="http://schemas.openxmlformats.org/officeDocument/2006/relationships/customXmlProps" Target="itemProps39.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40.xml.rels><?xml version="1.0" encoding="UTF-8" standalone="yes"?>
<Relationships xmlns="http://schemas.openxmlformats.org/package/2006/relationships"><Relationship Id="rId1" Type="http://schemas.openxmlformats.org/officeDocument/2006/relationships/customXmlProps" Target="itemProps40.xml"/></Relationships>
</file>

<file path=customXml/_rels/item41.xml.rels><?xml version="1.0" encoding="UTF-8" standalone="yes"?>
<Relationships xmlns="http://schemas.openxmlformats.org/package/2006/relationships"><Relationship Id="rId1" Type="http://schemas.openxmlformats.org/officeDocument/2006/relationships/customXmlProps" Target="itemProps41.xml"/></Relationships>
</file>

<file path=customXml/_rels/item42.xml.rels><?xml version="1.0" encoding="UTF-8" standalone="yes"?>
<Relationships xmlns="http://schemas.openxmlformats.org/package/2006/relationships"><Relationship Id="rId1" Type="http://schemas.openxmlformats.org/officeDocument/2006/relationships/customXmlProps" Target="itemProps42.xml"/></Relationships>
</file>

<file path=customXml/_rels/item43.xml.rels><?xml version="1.0" encoding="UTF-8" standalone="yes"?>
<Relationships xmlns="http://schemas.openxmlformats.org/package/2006/relationships"><Relationship Id="rId1" Type="http://schemas.openxmlformats.org/officeDocument/2006/relationships/customXmlProps" Target="itemProps43.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_rels/item7.xml.rels><?xml version="1.0" encoding="UTF-8" standalone="yes"?>
<Relationships xmlns="http://schemas.openxmlformats.org/package/2006/relationships"><Relationship Id="rId1" Type="http://schemas.openxmlformats.org/officeDocument/2006/relationships/customXmlProps" Target="itemProps7.xml"/></Relationships>
</file>

<file path=customXml/_rels/item8.xml.rels><?xml version="1.0" encoding="UTF-8" standalone="yes"?>
<Relationships xmlns="http://schemas.openxmlformats.org/package/2006/relationships"><Relationship Id="rId1" Type="http://schemas.openxmlformats.org/officeDocument/2006/relationships/customXmlProps" Target="itemProps8.xml"/></Relationships>
</file>

<file path=customXml/_rels/item9.xml.rels><?xml version="1.0" encoding="UTF-8" standalone="yes"?>
<Relationships xmlns="http://schemas.openxmlformats.org/package/2006/relationships"><Relationship Id="rId1" Type="http://schemas.openxmlformats.org/officeDocument/2006/relationships/customXmlProps" Target="itemProps9.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25CE3C050B28B1498ACC69981F58F1CE" ma:contentTypeVersion="11" ma:contentTypeDescription="Create a new document." ma:contentTypeScope="" ma:versionID="1717b63e0140fcedbe079d85c63ddc4c">
  <xsd:schema xmlns:xsd="http://www.w3.org/2001/XMLSchema" xmlns:xs="http://www.w3.org/2001/XMLSchema" xmlns:p="http://schemas.microsoft.com/office/2006/metadata/properties" xmlns:ns2="0d40424b-5917-4fa2-a7de-139218a0a863" xmlns:ns3="8c095f2f-91a0-449c-b6ff-b98b05c45d7b" targetNamespace="http://schemas.microsoft.com/office/2006/metadata/properties" ma:root="true" ma:fieldsID="6d523bf362dc6bd442c784f5dd4db53a" ns2:_="" ns3:_="">
    <xsd:import namespace="0d40424b-5917-4fa2-a7de-139218a0a863"/>
    <xsd:import namespace="8c095f2f-91a0-449c-b6ff-b98b05c45d7b"/>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ServiceObjectDetectorVersions" minOccurs="0"/>
                <xsd:element ref="ns2:MediaLengthInSeconds" minOccurs="0"/>
                <xsd:element ref="ns2:lcf76f155ced4ddcb4097134ff3c332f" minOccurs="0"/>
                <xsd:element ref="ns3:TaxCatchAll" minOccurs="0"/>
                <xsd:element ref="ns2:MediaServiceOCR" minOccurs="0"/>
                <xsd:element ref="ns2:MediaServiceGenerationTime" minOccurs="0"/>
                <xsd:element ref="ns2: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d40424b-5917-4fa2-a7de-139218a0a863"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dexed="true" ma:internalName="MediaServiceDateTaken" ma:readOnly="true">
      <xsd:simpleType>
        <xsd:restriction base="dms:Text"/>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MediaLengthInSeconds" ma:index="12" nillable="true" ma:displayName="MediaLengthInSeconds" ma:hidden="true" ma:internalName="MediaLengthInSeconds" ma:readOnly="true">
      <xsd:simpleType>
        <xsd:restriction base="dms:Unknown"/>
      </xsd:simpleType>
    </xsd:element>
    <xsd:element name="lcf76f155ced4ddcb4097134ff3c332f" ma:index="14" nillable="true" ma:taxonomy="true" ma:internalName="lcf76f155ced4ddcb4097134ff3c332f" ma:taxonomyFieldName="MediaServiceImageTags" ma:displayName="Image Tags" ma:readOnly="false" ma:fieldId="{5cf76f15-5ced-4ddc-b409-7134ff3c332f}" ma:taxonomyMulti="true" ma:sspId="cbc5697c-9d86-4020-9001-b7da5740438e" ma:termSetId="09814cd3-568e-fe90-9814-8d621ff8fb84" ma:anchorId="fba54fb3-c3e1-fe81-a776-ca4b69148c4d" ma:open="true" ma:isKeyword="false">
      <xsd:complexType>
        <xsd:sequence>
          <xsd:element ref="pc:Terms" minOccurs="0" maxOccurs="1"/>
        </xsd:sequence>
      </xsd:complex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8c095f2f-91a0-449c-b6ff-b98b05c45d7b" elementFormDefault="qualified">
    <xsd:import namespace="http://schemas.microsoft.com/office/2006/documentManagement/types"/>
    <xsd:import namespace="http://schemas.microsoft.com/office/infopath/2007/PartnerControls"/>
    <xsd:element name="TaxCatchAll" ma:index="15" nillable="true" ma:displayName="Taxonomy Catch All Column" ma:hidden="true" ma:list="{bf471c91-d724-4084-8f7a-2d7ab84f726c}" ma:internalName="TaxCatchAll" ma:showField="CatchAllData" ma:web="8c095f2f-91a0-449c-b6ff-b98b05c45d7b">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10.xml><?xml version="1.0" encoding="utf-8"?>
<TemplafySlideFormConfiguration><![CDATA[{"formFields":[],"formDataEntries":[]}]]></TemplafySlideFormConfiguration>
</file>

<file path=customXml/item11.xml><?xml version="1.0" encoding="utf-8"?>
<TemplafySlideTemplateConfiguration><![CDATA[{"documentContentValidatorConfiguration":{"enableDocumentContentValidator":false,"documentContentValidatorVersion":0},"elementsMetadata":[],"slideId":"638034082702201387","enableDocumentContentUpdater":true,"version":"1.10"}]]></TemplafySlideTemplateConfiguration>
</file>

<file path=customXml/item12.xml><?xml version="1.0" encoding="utf-8"?>
<TemplafySlideFormConfiguration><![CDATA[{"formFields":[],"formDataEntries":[]}]]></TemplafySlideFormConfiguration>
</file>

<file path=customXml/item13.xml><?xml version="1.0" encoding="utf-8"?>
<TemplafySlideTemplateConfiguration><![CDATA[{"documentContentValidatorConfiguration":{"enableDocumentContentValidator":false,"documentContentValidatorVersion":0},"elementsMetadata":[],"slideId":"638034082701107530","enableDocumentContentUpdater":true,"version":"1.10"}]]></TemplafySlideTemplateConfiguration>
</file>

<file path=customXml/item14.xml><?xml version="1.0" encoding="utf-8"?>
<TemplafySlideTemplateConfiguration><![CDATA[{"documentContentValidatorConfiguration":{"enableDocumentContentValidator":false,"documentContentValidatorVersion":0},"elementsMetadata":[],"slideId":"638034082701107530","enableDocumentContentUpdater":true,"version":"1.10"}]]></TemplafySlideTemplateConfiguration>
</file>

<file path=customXml/item15.xml><?xml version="1.0" encoding="utf-8"?>
<TemplafySlideFormConfiguration><![CDATA[{"formFields":[],"formDataEntries":[]}]]></TemplafySlideFormConfiguration>
</file>

<file path=customXml/item16.xml><?xml version="1.0" encoding="utf-8"?>
<TemplafySlideFormConfiguration><![CDATA[{"formFields":[],"formDataEntries":[]}]]></TemplafySlideFormConfiguration>
</file>

<file path=customXml/item17.xml><?xml version="1.0" encoding="utf-8"?>
<TemplafySlideTemplateConfiguration><![CDATA[{"documentContentValidatorConfiguration":{"enableDocumentContentValidator":false,"documentContentValidatorVersion":0},"elementsMetadata":[],"slideId":"638034082701107530","enableDocumentContentUpdater":true,"version":"1.10"}]]></TemplafySlideTemplateConfiguration>
</file>

<file path=customXml/item18.xml><?xml version="1.0" encoding="utf-8"?>
<TemplafySlideFormConfiguration><![CDATA[{"formFields":[],"formDataEntries":[]}]]></TemplafySlideFormConfiguration>
</file>

<file path=customXml/item19.xml><?xml version="1.0" encoding="utf-8"?>
<TemplafySlideTemplateConfiguration><![CDATA[{"documentContentValidatorConfiguration":{"enableDocumentContentValidator":false,"documentContentValidatorVersion":0},"elementsMetadata":[],"slideId":"638034082701107530","enableDocumentContentUpdater":true,"version":"1.10"}]]></TemplafySlideTemplateConfiguration>
</file>

<file path=customXml/item2.xml><?xml version="1.0" encoding="utf-8"?>
<TemplafyTemplateConfiguration><![CDATA[{"elementsMetadata":[{"type":"shape","id":"55883e22-8756-4175-b992-350cd497b4b9","elementConfiguration":{"inheritDimensions":"inheritWidth","binding":"Form.DocLang.Oig_black","disableUpdates":false,"type":"image"}},{"type":"shape","id":"f7f80f17-fc21-4ed3-8524-16f3692dcd89","elementConfiguration":{"inheritDimensions":"inheritWidth","binding":"Form.DocLang.Oig_black","disableUpdates":false,"type":"image"}},{"type":"shape","id":"b7ac4452-9e4b-4883-9dd5-6ec32e19b968","elementConfiguration":{"inheritDimensions":"inheritWidth","binding":"Form.DocLang.Oig_black","disableUpdates":false,"type":"image"}},{"type":"shape","id":"3f6c5e35-80a8-4fc5-94d1-4dfcb2d3b1eb","elementConfiguration":{"inheritDimensions":"inheritWidth","binding":"Form.DocLang.Oig_black","disableUpdates":false,"type":"image"}},{"type":"shape","id":"44bb3358-4283-4314-990d-59910e926a0e","elementConfiguration":{"inheritDimensions":"inheritWidth","binding":"Form.DocLang.Oig_black","disableUpdates":false,"type":"image"}},{"type":"shape","id":"b22bc453-9a88-4b2e-9d4d-88e41702319b","elementConfiguration":{"inheritDimensions":"inheritWidth","binding":"Form.DocLang.Logo_stacked_black","disableUpdates":false,"type":"image"}},{"type":"shape","id":"f67ec146-098c-480b-aedd-51e417cb0e8a","elementConfiguration":{"inheritDimensions":"inheritWidth","binding":"Form.DocLang.Oig_color","disableUpdates":false,"type":"image"}},{"type":"shape","id":"4194b9f6-3520-4f96-ab49-212cf2595f71","elementConfiguration":{"inheritDimensions":"inheritWidth","binding":"Form.DocLang.Oig_black","disableUpdates":false,"type":"image"}},{"type":"shape","id":"e827750a-be7f-49ff-bc01-8ba1fd7e9e58","elementConfiguration":{"inheritDimensions":"inheritWidth","binding":"Form.DocLang.Logo_stacked_colour","disableUpdates":false,"type":"image"}},{"type":"shape","id":"914c8a6c-cd0a-4479-ab25-74b431cff195","elementConfiguration":{"inheritDimensions":"inheritWidth","binding":"Form.DocLang.Oig_white","disableUpdates":false,"type":"image"}},{"type":"shape","id":"1ca28c29-eb4d-48e9-8c4c-fbe7c10d2377","elementConfiguration":{"inheritDimensions":"inheritWidth","binding":"Form.DocLang.Oig_black","disableUpdates":false,"type":"image"}},{"type":"shape","id":"69fe0496-3efe-4dda-9bb1-2129d28060f4","elementConfiguration":{"inheritDimensions":"inheritWidth","binding":"Form.DocLang.Oig_black","disableUpdates":false,"type":"image"}},{"type":"shape","id":"dbba1d9f-8f9d-4e6a-9a83-962bb42bde31","elementConfiguration":{"inheritDimensions":"inheritWidth","binding":"Form.DocLang.Oig_color","disableUpdates":false,"type":"image"}}],"transformationConfigurations":[{"language":"{{Form.DocLang.StdSpell}}","disableUpdates":false,"type":"proofingLanguage"}],"templateName":"","templateDescription":"","enableDocumentContentUpdater":true,"version":"1.10"}]]></TemplafyTemplateConfiguration>
</file>

<file path=customXml/item20.xml><?xml version="1.0" encoding="utf-8"?>
<TemplafySlideTemplateConfiguration><![CDATA[{"documentContentValidatorConfiguration":{"enableDocumentContentValidator":false,"documentContentValidatorVersion":0},"elementsMetadata":[],"slideId":"638034082701107530","enableDocumentContentUpdater":true,"version":"1.10"}]]></TemplafySlideTemplateConfiguration>
</file>

<file path=customXml/item21.xml><?xml version="1.0" encoding="utf-8"?>
<TemplafySlideFormConfiguration><![CDATA[{"formFields":[],"formDataEntries":[]}]]></TemplafySlideFormConfiguration>
</file>

<file path=customXml/item22.xml><?xml version="1.0" encoding="utf-8"?>
<TemplafySlideTemplateConfiguration><![CDATA[{"documentContentValidatorConfiguration":{"enableDocumentContentValidator":false,"documentContentValidatorVersion":0},"elementsMetadata":[],"slideId":"638034082701107530","enableDocumentContentUpdater":true,"version":"1.10"}]]></TemplafySlideTemplateConfiguration>
</file>

<file path=customXml/item23.xml><?xml version="1.0" encoding="utf-8"?>
<TemplafySlideFormConfiguration><![CDATA[{"formFields":[],"formDataEntries":[]}]]></TemplafySlideFormConfiguration>
</file>

<file path=customXml/item24.xml><?xml version="1.0" encoding="utf-8"?>
<TemplafySlideFormConfiguration><![CDATA[{"formFields":[],"formDataEntries":[]}]]></TemplafySlideFormConfiguration>
</file>

<file path=customXml/item25.xml><?xml version="1.0" encoding="utf-8"?>
<TemplafySlideTemplateConfiguration><![CDATA[{"documentContentValidatorConfiguration":{"enableDocumentContentValidator":false,"documentContentValidatorVersion":0},"elementsMetadata":[],"slideId":"638034082701107530","enableDocumentContentUpdater":true,"version":"1.10"}]]></TemplafySlideTemplateConfiguration>
</file>

<file path=customXml/item26.xml><?xml version="1.0" encoding="utf-8"?>
<TemplafySlideFormConfiguration><![CDATA[{"formFields":[],"formDataEntries":[]}]]></TemplafySlideFormConfiguration>
</file>

<file path=customXml/item27.xml><?xml version="1.0" encoding="utf-8"?>
<TemplafySlideTemplateConfiguration><![CDATA[{"documentContentValidatorConfiguration":{"enableDocumentContentValidator":false,"documentContentValidatorVersion":0},"elementsMetadata":[],"slideId":"638034082701107530","enableDocumentContentUpdater":true,"version":"1.10"}]]></TemplafySlideTemplateConfiguration>
</file>

<file path=customXml/item28.xml><?xml version="1.0" encoding="utf-8"?>
<TemplafySlideFormConfiguration><![CDATA[{"formFields":[],"formDataEntries":[]}]]></TemplafySlideFormConfiguration>
</file>

<file path=customXml/item29.xml><?xml version="1.0" encoding="utf-8"?>
<TemplafySlideTemplateConfiguration><![CDATA[{"documentContentValidatorConfiguration":{"enableDocumentContentValidator":false,"documentContentValidatorVersion":0},"elementsMetadata":[],"slideId":"638034082701107530","enableDocumentContentUpdater":true,"version":"1.10"}]]></TemplafySlideTemplateConfiguration>
</file>

<file path=customXml/item3.xml><?xml version="1.0" encoding="utf-8"?>
<?mso-contentType ?>
<FormTemplates xmlns="http://schemas.microsoft.com/sharepoint/v3/contenttype/forms">
  <Display>DocumentLibraryForm</Display>
  <Edit>DocumentLibraryForm</Edit>
  <New>DocumentLibraryForm</New>
</FormTemplates>
</file>

<file path=customXml/item30.xml><?xml version="1.0" encoding="utf-8"?>
<TemplafySlideFormConfiguration><![CDATA[{"formFields":[],"formDataEntries":[]}]]></TemplafySlideFormConfiguration>
</file>

<file path=customXml/item31.xml><?xml version="1.0" encoding="utf-8"?>
<TemplafySlideTemplateConfiguration><![CDATA[{"documentContentValidatorConfiguration":{"enableDocumentContentValidator":false,"documentContentValidatorVersion":0},"elementsMetadata":[],"slideId":"638034082701107530","enableDocumentContentUpdater":true,"version":"1.10"}]]></TemplafySlideTemplateConfiguration>
</file>

<file path=customXml/item32.xml><?xml version="1.0" encoding="utf-8"?>
<TemplafySlideFormConfiguration><![CDATA[{"formFields":[],"formDataEntries":[]}]]></TemplafySlideFormConfiguration>
</file>

<file path=customXml/item33.xml><?xml version="1.0" encoding="utf-8"?>
<TemplafySlideTemplateConfiguration><![CDATA[{"documentContentValidatorConfiguration":{"enableDocumentContentValidator":false,"documentContentValidatorVersion":0},"elementsMetadata":[],"slideId":"638034082701107530","enableDocumentContentUpdater":true,"version":"1.10"}]]></TemplafySlideTemplateConfiguration>
</file>

<file path=customXml/item34.xml><?xml version="1.0" encoding="utf-8"?>
<TemplafySlideTemplateConfiguration><![CDATA[{"documentContentValidatorConfiguration":{"enableDocumentContentValidator":false,"documentContentValidatorVersion":0},"elementsMetadata":[],"slideId":"638034082701107530","enableDocumentContentUpdater":true,"version":"1.10"}]]></TemplafySlideTemplateConfiguration>
</file>

<file path=customXml/item35.xml><?xml version="1.0" encoding="utf-8"?>
<TemplafySlideFormConfiguration><![CDATA[{"formFields":[],"formDataEntries":[]}]]></TemplafySlideFormConfiguration>
</file>

<file path=customXml/item36.xml><?xml version="1.0" encoding="utf-8"?>
<TemplafySlideTemplateConfiguration><![CDATA[{"documentContentValidatorConfiguration":{"enableDocumentContentValidator":false,"documentContentValidatorVersion":0},"elementsMetadata":[],"slideId":"638034082701107530","enableDocumentContentUpdater":true,"version":"1.10"}]]></TemplafySlideTemplateConfiguration>
</file>

<file path=customXml/item37.xml><?xml version="1.0" encoding="utf-8"?>
<TemplafySlideFormConfiguration><![CDATA[{"formFields":[],"formDataEntries":[]}]]></TemplafySlideFormConfiguration>
</file>

<file path=customXml/item38.xml><?xml version="1.0" encoding="utf-8"?>
<TemplafySlideTemplateConfiguration><![CDATA[{"documentContentValidatorConfiguration":{"enableDocumentContentValidator":false,"documentContentValidatorVersion":0},"elementsMetadata":[],"slideId":"638034082701107530","enableDocumentContentUpdater":true,"version":"1.10"}]]></TemplafySlideTemplateConfiguration>
</file>

<file path=customXml/item39.xml><?xml version="1.0" encoding="utf-8"?>
<TemplafySlideFormConfiguration><![CDATA[{"formFields":[],"formDataEntries":[]}]]></TemplafySlideFormConfiguration>
</file>

<file path=customXml/item4.xml><?xml version="1.0" encoding="utf-8"?>
<TemplafyFormConfiguration><![CDATA[{"formFields":[{"dataSource":"Languages","displayColumn":"language","defaultValue":"{{UserProfile.DocumentLanguage.Id}}","hideIfNoUserInteractionRequired":false,"distinct":true,"required":true,"autoSelectFirstOption":false,"helpTexts":{"prefix":"","postfix":""},"spacing":{},"type":"dropDown","name":"DocLang","label":"Document Language","fullyQualifiedName":"DocLang"}],"formDataEntries":[{"name":"DocLang","value":"Yq4f8ikL1FlYGwH8CgaazA=="}]}]]></TemplafyFormConfiguration>
</file>

<file path=customXml/item40.xml><?xml version="1.0" encoding="utf-8"?>
<TemplafySlideTemplateConfiguration><![CDATA[{"documentContentValidatorConfiguration":{"enableDocumentContentValidator":false,"documentContentValidatorVersion":0},"elementsMetadata":[],"slideId":"637583120600517069","enableDocumentContentUpdater":true,"version":"1.10"}]]></TemplafySlideTemplateConfiguration>
</file>

<file path=customXml/item41.xml><?xml version="1.0" encoding="utf-8"?>
<TemplafySlideFormConfiguration><![CDATA[{"formFields":[],"formDataEntries":[]}]]></TemplafySlideFormConfiguration>
</file>

<file path=customXml/item42.xml><?xml version="1.0" encoding="utf-8"?>
<TemplafySlideFormConfiguration><![CDATA[{"formFields":[],"formDataEntries":[]}]]></TemplafySlideFormConfiguration>
</file>

<file path=customXml/item43.xml><?xml version="1.0" encoding="utf-8"?>
<TemplafySlideTemplateConfiguration><![CDATA[{"documentContentValidatorConfiguration":{"enableDocumentContentValidator":false,"documentContentValidatorVersion":0},"elementsMetadata":[],"slideId":"638034082701107530","enableDocumentContentUpdater":true,"version":"1.10"}]]></TemplafySlideTemplateConfiguration>
</file>

<file path=customXml/item5.xml><?xml version="1.0" encoding="utf-8"?>
<p:properties xmlns:p="http://schemas.microsoft.com/office/2006/metadata/properties" xmlns:xsi="http://www.w3.org/2001/XMLSchema-instance" xmlns:pc="http://schemas.microsoft.com/office/infopath/2007/PartnerControls">
  <documentManagement>
    <lcf76f155ced4ddcb4097134ff3c332f xmlns="0d40424b-5917-4fa2-a7de-139218a0a863">
      <Terms xmlns="http://schemas.microsoft.com/office/infopath/2007/PartnerControls"/>
    </lcf76f155ced4ddcb4097134ff3c332f>
    <TaxCatchAll xmlns="8c095f2f-91a0-449c-b6ff-b98b05c45d7b" xsi:nil="true"/>
  </documentManagement>
</p:properties>
</file>

<file path=customXml/item6.xml><?xml version="1.0" encoding="utf-8"?>
<TemplafySlideTemplateConfiguration><![CDATA[{"documentContentValidatorConfiguration":{"enableDocumentContentValidator":false,"documentContentValidatorVersion":0},"elementsMetadata":[],"slideId":"638034082702201387","enableDocumentContentUpdater":true,"version":"1.10"}]]></TemplafySlideTemplateConfiguration>
</file>

<file path=customXml/item7.xml><?xml version="1.0" encoding="utf-8"?>
<TemplafySlideFormConfiguration><![CDATA[{"formFields":[],"formDataEntries":[]}]]></TemplafySlideFormConfiguration>
</file>

<file path=customXml/item8.xml><?xml version="1.0" encoding="utf-8"?>
<TemplafySlideFormConfiguration><![CDATA[{"formFields":[],"formDataEntries":[]}]]></TemplafySlideFormConfiguration>
</file>

<file path=customXml/item9.xml><?xml version="1.0" encoding="utf-8"?>
<TemplafySlideTemplateConfiguration><![CDATA[{"documentContentValidatorConfiguration":{"enableDocumentContentValidator":false,"documentContentValidatorVersion":0},"elementsMetadata":[],"slideId":"638034082701107530","enableDocumentContentUpdater":true,"version":"1.10"}]]></TemplafySlideTemplateConfiguration>
</file>

<file path=customXml/itemProps1.xml><?xml version="1.0" encoding="utf-8"?>
<ds:datastoreItem xmlns:ds="http://schemas.openxmlformats.org/officeDocument/2006/customXml" ds:itemID="{1468FB88-56F7-4D93-8E5C-DEA955568037}">
  <ds:schemaRefs>
    <ds:schemaRef ds:uri="0d40424b-5917-4fa2-a7de-139218a0a863"/>
    <ds:schemaRef ds:uri="8c095f2f-91a0-449c-b6ff-b98b05c45d7b"/>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10.xml><?xml version="1.0" encoding="utf-8"?>
<ds:datastoreItem xmlns:ds="http://schemas.openxmlformats.org/officeDocument/2006/customXml" ds:itemID="{61DCEFCD-57B2-41B7-B180-55F58C26E3A9}">
  <ds:schemaRefs/>
</ds:datastoreItem>
</file>

<file path=customXml/itemProps11.xml><?xml version="1.0" encoding="utf-8"?>
<ds:datastoreItem xmlns:ds="http://schemas.openxmlformats.org/officeDocument/2006/customXml" ds:itemID="{A2B178E9-D740-40B3-8F23-475768519E25}">
  <ds:schemaRefs/>
</ds:datastoreItem>
</file>

<file path=customXml/itemProps12.xml><?xml version="1.0" encoding="utf-8"?>
<ds:datastoreItem xmlns:ds="http://schemas.openxmlformats.org/officeDocument/2006/customXml" ds:itemID="{DF58AE8B-B03B-45B1-826C-E7B628AD6DF3}">
  <ds:schemaRefs/>
</ds:datastoreItem>
</file>

<file path=customXml/itemProps13.xml><?xml version="1.0" encoding="utf-8"?>
<ds:datastoreItem xmlns:ds="http://schemas.openxmlformats.org/officeDocument/2006/customXml" ds:itemID="{F00A8B7D-E621-4865-9220-B0A7AAAA7327}">
  <ds:schemaRefs/>
</ds:datastoreItem>
</file>

<file path=customXml/itemProps14.xml><?xml version="1.0" encoding="utf-8"?>
<ds:datastoreItem xmlns:ds="http://schemas.openxmlformats.org/officeDocument/2006/customXml" ds:itemID="{9A35E6F1-8F72-4179-B53C-AA739A0265CC}">
  <ds:schemaRefs/>
</ds:datastoreItem>
</file>

<file path=customXml/itemProps15.xml><?xml version="1.0" encoding="utf-8"?>
<ds:datastoreItem xmlns:ds="http://schemas.openxmlformats.org/officeDocument/2006/customXml" ds:itemID="{9A19AB0E-06A1-43EB-B94A-8413467CEA06}">
  <ds:schemaRefs/>
</ds:datastoreItem>
</file>

<file path=customXml/itemProps16.xml><?xml version="1.0" encoding="utf-8"?>
<ds:datastoreItem xmlns:ds="http://schemas.openxmlformats.org/officeDocument/2006/customXml" ds:itemID="{AF587CF4-6837-41C7-9D25-E17E39CC2C71}">
  <ds:schemaRefs/>
</ds:datastoreItem>
</file>

<file path=customXml/itemProps17.xml><?xml version="1.0" encoding="utf-8"?>
<ds:datastoreItem xmlns:ds="http://schemas.openxmlformats.org/officeDocument/2006/customXml" ds:itemID="{E91E97B0-9673-4DA8-B658-FB05DC9396D2}">
  <ds:schemaRefs/>
</ds:datastoreItem>
</file>

<file path=customXml/itemProps18.xml><?xml version="1.0" encoding="utf-8"?>
<ds:datastoreItem xmlns:ds="http://schemas.openxmlformats.org/officeDocument/2006/customXml" ds:itemID="{D8DE7434-FA77-492A-AED8-B1AED594A564}">
  <ds:schemaRefs/>
</ds:datastoreItem>
</file>

<file path=customXml/itemProps19.xml><?xml version="1.0" encoding="utf-8"?>
<ds:datastoreItem xmlns:ds="http://schemas.openxmlformats.org/officeDocument/2006/customXml" ds:itemID="{96D2428E-61DE-46FA-B81D-1EDBC59E3AD4}">
  <ds:schemaRefs/>
</ds:datastoreItem>
</file>

<file path=customXml/itemProps2.xml><?xml version="1.0" encoding="utf-8"?>
<ds:datastoreItem xmlns:ds="http://schemas.openxmlformats.org/officeDocument/2006/customXml" ds:itemID="{24B83C46-1F1A-4859-B726-FAA3C0298E1C}">
  <ds:schemaRefs/>
</ds:datastoreItem>
</file>

<file path=customXml/itemProps20.xml><?xml version="1.0" encoding="utf-8"?>
<ds:datastoreItem xmlns:ds="http://schemas.openxmlformats.org/officeDocument/2006/customXml" ds:itemID="{0DEFBB38-3BC3-4935-9D99-C2A0EAAB68B2}">
  <ds:schemaRefs/>
</ds:datastoreItem>
</file>

<file path=customXml/itemProps21.xml><?xml version="1.0" encoding="utf-8"?>
<ds:datastoreItem xmlns:ds="http://schemas.openxmlformats.org/officeDocument/2006/customXml" ds:itemID="{CA4B2ED2-167C-4B0C-9ACE-A27AF0AFC1C1}">
  <ds:schemaRefs/>
</ds:datastoreItem>
</file>

<file path=customXml/itemProps22.xml><?xml version="1.0" encoding="utf-8"?>
<ds:datastoreItem xmlns:ds="http://schemas.openxmlformats.org/officeDocument/2006/customXml" ds:itemID="{7190D57B-351E-4D47-A5A7-9392B9AA5C6B}">
  <ds:schemaRefs/>
</ds:datastoreItem>
</file>

<file path=customXml/itemProps23.xml><?xml version="1.0" encoding="utf-8"?>
<ds:datastoreItem xmlns:ds="http://schemas.openxmlformats.org/officeDocument/2006/customXml" ds:itemID="{D2C4683E-1A56-4470-BB3F-E97782D27135}">
  <ds:schemaRefs/>
</ds:datastoreItem>
</file>

<file path=customXml/itemProps24.xml><?xml version="1.0" encoding="utf-8"?>
<ds:datastoreItem xmlns:ds="http://schemas.openxmlformats.org/officeDocument/2006/customXml" ds:itemID="{3779D074-BD08-49C3-A24A-104CD4CBF7E4}">
  <ds:schemaRefs/>
</ds:datastoreItem>
</file>

<file path=customXml/itemProps25.xml><?xml version="1.0" encoding="utf-8"?>
<ds:datastoreItem xmlns:ds="http://schemas.openxmlformats.org/officeDocument/2006/customXml" ds:itemID="{8AD706A0-ABAB-4B5B-9448-BB5A69BF6424}">
  <ds:schemaRefs/>
</ds:datastoreItem>
</file>

<file path=customXml/itemProps26.xml><?xml version="1.0" encoding="utf-8"?>
<ds:datastoreItem xmlns:ds="http://schemas.openxmlformats.org/officeDocument/2006/customXml" ds:itemID="{B0961202-4CFC-42D2-90E8-B60EF470C750}">
  <ds:schemaRefs/>
</ds:datastoreItem>
</file>

<file path=customXml/itemProps27.xml><?xml version="1.0" encoding="utf-8"?>
<ds:datastoreItem xmlns:ds="http://schemas.openxmlformats.org/officeDocument/2006/customXml" ds:itemID="{CDC1CE0D-7FA6-40AC-BE12-8AFF7A4B6EDE}">
  <ds:schemaRefs/>
</ds:datastoreItem>
</file>

<file path=customXml/itemProps28.xml><?xml version="1.0" encoding="utf-8"?>
<ds:datastoreItem xmlns:ds="http://schemas.openxmlformats.org/officeDocument/2006/customXml" ds:itemID="{10B25191-2A7D-4830-9E40-4F003147A927}">
  <ds:schemaRefs/>
</ds:datastoreItem>
</file>

<file path=customXml/itemProps29.xml><?xml version="1.0" encoding="utf-8"?>
<ds:datastoreItem xmlns:ds="http://schemas.openxmlformats.org/officeDocument/2006/customXml" ds:itemID="{30A5562A-EC23-42FA-9CE4-43349A64A07C}">
  <ds:schemaRefs/>
</ds:datastoreItem>
</file>

<file path=customXml/itemProps3.xml><?xml version="1.0" encoding="utf-8"?>
<ds:datastoreItem xmlns:ds="http://schemas.openxmlformats.org/officeDocument/2006/customXml" ds:itemID="{B5CC00E5-0E29-472D-A362-2B448A7C6B47}">
  <ds:schemaRefs>
    <ds:schemaRef ds:uri="http://schemas.microsoft.com/sharepoint/v3/contenttype/forms"/>
  </ds:schemaRefs>
</ds:datastoreItem>
</file>

<file path=customXml/itemProps30.xml><?xml version="1.0" encoding="utf-8"?>
<ds:datastoreItem xmlns:ds="http://schemas.openxmlformats.org/officeDocument/2006/customXml" ds:itemID="{40E8E4EF-A9D8-40B8-BF38-8594473848BF}">
  <ds:schemaRefs/>
</ds:datastoreItem>
</file>

<file path=customXml/itemProps31.xml><?xml version="1.0" encoding="utf-8"?>
<ds:datastoreItem xmlns:ds="http://schemas.openxmlformats.org/officeDocument/2006/customXml" ds:itemID="{5BF649ED-4A4D-4F0F-8361-63EA316E29D6}">
  <ds:schemaRefs/>
</ds:datastoreItem>
</file>

<file path=customXml/itemProps32.xml><?xml version="1.0" encoding="utf-8"?>
<ds:datastoreItem xmlns:ds="http://schemas.openxmlformats.org/officeDocument/2006/customXml" ds:itemID="{5F387C7B-4F2D-4D7F-A525-4944976DFF46}">
  <ds:schemaRefs/>
</ds:datastoreItem>
</file>

<file path=customXml/itemProps33.xml><?xml version="1.0" encoding="utf-8"?>
<ds:datastoreItem xmlns:ds="http://schemas.openxmlformats.org/officeDocument/2006/customXml" ds:itemID="{8CE43134-E722-4F98-AEC8-14033E77BF09}">
  <ds:schemaRefs/>
</ds:datastoreItem>
</file>

<file path=customXml/itemProps34.xml><?xml version="1.0" encoding="utf-8"?>
<ds:datastoreItem xmlns:ds="http://schemas.openxmlformats.org/officeDocument/2006/customXml" ds:itemID="{2BFE868B-4CAC-4B8B-ACAD-9531AC9EE8C3}">
  <ds:schemaRefs/>
</ds:datastoreItem>
</file>

<file path=customXml/itemProps35.xml><?xml version="1.0" encoding="utf-8"?>
<ds:datastoreItem xmlns:ds="http://schemas.openxmlformats.org/officeDocument/2006/customXml" ds:itemID="{BAF6B63E-27AA-42D9-B398-5A85DF2743A7}">
  <ds:schemaRefs/>
</ds:datastoreItem>
</file>

<file path=customXml/itemProps36.xml><?xml version="1.0" encoding="utf-8"?>
<ds:datastoreItem xmlns:ds="http://schemas.openxmlformats.org/officeDocument/2006/customXml" ds:itemID="{EB0D8579-A388-415D-913C-A8C5E16CE275}">
  <ds:schemaRefs/>
</ds:datastoreItem>
</file>

<file path=customXml/itemProps37.xml><?xml version="1.0" encoding="utf-8"?>
<ds:datastoreItem xmlns:ds="http://schemas.openxmlformats.org/officeDocument/2006/customXml" ds:itemID="{01C43259-7DA5-4946-9320-904B04C649E8}">
  <ds:schemaRefs/>
</ds:datastoreItem>
</file>

<file path=customXml/itemProps38.xml><?xml version="1.0" encoding="utf-8"?>
<ds:datastoreItem xmlns:ds="http://schemas.openxmlformats.org/officeDocument/2006/customXml" ds:itemID="{E99D37EA-4E46-4392-BD81-C065906B2749}">
  <ds:schemaRefs/>
</ds:datastoreItem>
</file>

<file path=customXml/itemProps39.xml><?xml version="1.0" encoding="utf-8"?>
<ds:datastoreItem xmlns:ds="http://schemas.openxmlformats.org/officeDocument/2006/customXml" ds:itemID="{B657B488-63D7-432A-9826-5A55E039A5F9}">
  <ds:schemaRefs/>
</ds:datastoreItem>
</file>

<file path=customXml/itemProps4.xml><?xml version="1.0" encoding="utf-8"?>
<ds:datastoreItem xmlns:ds="http://schemas.openxmlformats.org/officeDocument/2006/customXml" ds:itemID="{3767200E-D1D8-4965-855E-9803E6657062}">
  <ds:schemaRefs/>
</ds:datastoreItem>
</file>

<file path=customXml/itemProps40.xml><?xml version="1.0" encoding="utf-8"?>
<ds:datastoreItem xmlns:ds="http://schemas.openxmlformats.org/officeDocument/2006/customXml" ds:itemID="{2EAF662B-12C5-4CDF-BE1E-3466ECEEE9A1}">
  <ds:schemaRefs/>
</ds:datastoreItem>
</file>

<file path=customXml/itemProps41.xml><?xml version="1.0" encoding="utf-8"?>
<ds:datastoreItem xmlns:ds="http://schemas.openxmlformats.org/officeDocument/2006/customXml" ds:itemID="{F737F2A8-6D1D-4C36-95C3-42A913C1E35D}">
  <ds:schemaRefs/>
</ds:datastoreItem>
</file>

<file path=customXml/itemProps42.xml><?xml version="1.0" encoding="utf-8"?>
<ds:datastoreItem xmlns:ds="http://schemas.openxmlformats.org/officeDocument/2006/customXml" ds:itemID="{8BDBF4C2-840A-469D-93EA-7C33EC1BEEA1}">
  <ds:schemaRefs/>
</ds:datastoreItem>
</file>

<file path=customXml/itemProps43.xml><?xml version="1.0" encoding="utf-8"?>
<ds:datastoreItem xmlns:ds="http://schemas.openxmlformats.org/officeDocument/2006/customXml" ds:itemID="{95B0B995-4734-4B9C-85F7-9294B70791B5}">
  <ds:schemaRefs/>
</ds:datastoreItem>
</file>

<file path=customXml/itemProps5.xml><?xml version="1.0" encoding="utf-8"?>
<ds:datastoreItem xmlns:ds="http://schemas.openxmlformats.org/officeDocument/2006/customXml" ds:itemID="{78C4199D-B32C-43FE-8FA0-D74E0A2A7557}">
  <ds:schemaRefs>
    <ds:schemaRef ds:uri="http://schemas.microsoft.com/office/infopath/2007/PartnerControls"/>
    <ds:schemaRef ds:uri="http://schemas.microsoft.com/office/2006/metadata/properties"/>
    <ds:schemaRef ds:uri="http://schemas.microsoft.com/office/2006/documentManagement/types"/>
    <ds:schemaRef ds:uri="http://purl.org/dc/dcmitype/"/>
    <ds:schemaRef ds:uri="8c095f2f-91a0-449c-b6ff-b98b05c45d7b"/>
    <ds:schemaRef ds:uri="http://purl.org/dc/terms/"/>
    <ds:schemaRef ds:uri="http://purl.org/dc/elements/1.1/"/>
    <ds:schemaRef ds:uri="0d40424b-5917-4fa2-a7de-139218a0a863"/>
    <ds:schemaRef ds:uri="http://schemas.openxmlformats.org/package/2006/metadata/core-properties"/>
    <ds:schemaRef ds:uri="http://www.w3.org/XML/1998/namespace"/>
  </ds:schemaRefs>
</ds:datastoreItem>
</file>

<file path=customXml/itemProps6.xml><?xml version="1.0" encoding="utf-8"?>
<ds:datastoreItem xmlns:ds="http://schemas.openxmlformats.org/officeDocument/2006/customXml" ds:itemID="{D2C8937F-1BA0-4EA5-8465-E1EF16DEA8CD}">
  <ds:schemaRefs/>
</ds:datastoreItem>
</file>

<file path=customXml/itemProps7.xml><?xml version="1.0" encoding="utf-8"?>
<ds:datastoreItem xmlns:ds="http://schemas.openxmlformats.org/officeDocument/2006/customXml" ds:itemID="{DFD30179-E8FF-47F1-9A62-BEA79A055E44}">
  <ds:schemaRefs/>
</ds:datastoreItem>
</file>

<file path=customXml/itemProps8.xml><?xml version="1.0" encoding="utf-8"?>
<ds:datastoreItem xmlns:ds="http://schemas.openxmlformats.org/officeDocument/2006/customXml" ds:itemID="{9D205DF3-D570-41D3-8F16-CA85BFDF94B5}">
  <ds:schemaRefs/>
</ds:datastoreItem>
</file>

<file path=customXml/itemProps9.xml><?xml version="1.0" encoding="utf-8"?>
<ds:datastoreItem xmlns:ds="http://schemas.openxmlformats.org/officeDocument/2006/customXml" ds:itemID="{D59EE922-1FF0-4091-9ADE-0BDD5FCB906F}">
  <ds:schemaRefs/>
</ds:datastoreItem>
</file>

<file path=docMetadata/LabelInfo.xml><?xml version="1.0" encoding="utf-8"?>
<clbl:labelList xmlns:clbl="http://schemas.microsoft.com/office/2020/mipLabelMetadata">
  <clbl:label id="{77920909-8782-4efb-aaf1-44ac114d7c03}" enabled="0" method="" siteId="{77920909-8782-4efb-aaf1-44ac114d7c03}" removed="1"/>
</clbl:labelList>
</file>

<file path=docProps/app.xml><?xml version="1.0" encoding="utf-8"?>
<Properties xmlns="http://schemas.openxmlformats.org/officeDocument/2006/extended-properties" xmlns:vt="http://schemas.openxmlformats.org/officeDocument/2006/docPropsVTypes">
  <Template>Presentation</Template>
  <TotalTime>648</TotalTime>
  <Words>3435</Words>
  <Application>Microsoft Office PowerPoint</Application>
  <PresentationFormat>Widescreen</PresentationFormat>
  <Paragraphs>280</Paragraphs>
  <Slides>21</Slides>
  <Notes>12</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21</vt:i4>
      </vt:variant>
    </vt:vector>
  </HeadingPairs>
  <TitlesOfParts>
    <vt:vector size="30" baseType="lpstr">
      <vt:lpstr>Arial</vt:lpstr>
      <vt:lpstr>Arial Black</vt:lpstr>
      <vt:lpstr>Calibri</vt:lpstr>
      <vt:lpstr>Courier New</vt:lpstr>
      <vt:lpstr>Lucida Grande</vt:lpstr>
      <vt:lpstr>Segoe UI</vt:lpstr>
      <vt:lpstr>Wingdings</vt:lpstr>
      <vt:lpstr>Office Theme</vt:lpstr>
      <vt:lpstr>think-cell Slide</vt:lpstr>
      <vt:lpstr>PowerPoint Presentation</vt:lpstr>
      <vt:lpstr>The Office of the Inspector General (OIG)</vt:lpstr>
      <vt:lpstr>PowerPoint Presentation</vt:lpstr>
      <vt:lpstr>PowerPoint Presentation</vt:lpstr>
      <vt:lpstr>Key messages across objectives</vt:lpstr>
      <vt:lpstr>PowerPoint Presentation</vt:lpstr>
      <vt:lpstr>Good practices observed</vt:lpstr>
      <vt:lpstr>1. Limited integration of TB and HIV services with primary healthcare </vt:lpstr>
      <vt:lpstr>2. The absence of comprehensive, accurate, and standardized data, compounded by challenges incl. limited staff capacity and manual entry errors  </vt:lpstr>
      <vt:lpstr>3. Increasing incidence of HIV, particularly among Men who have Sex with Men </vt:lpstr>
      <vt:lpstr>4. HIV treatment coverage and quality </vt:lpstr>
      <vt:lpstr>5. Challenges in TB case detection </vt:lpstr>
      <vt:lpstr>5. Challenges in TB case detection </vt:lpstr>
      <vt:lpstr>PowerPoint Presentation</vt:lpstr>
      <vt:lpstr>Good practices observed</vt:lpstr>
      <vt:lpstr>Sustainability and co-financing</vt:lpstr>
      <vt:lpstr>Sustainability and co-financing</vt:lpstr>
      <vt:lpstr>Key areas of focus – sustainability and co-financing</vt:lpstr>
      <vt:lpstr>Next Steps</vt:lpstr>
      <vt:lpstr>Reporting fraud and abuse</vt:lpstr>
      <vt:lpstr>PowerPoint Presentation</vt:lpstr>
    </vt:vector>
  </TitlesOfParts>
  <Company>Mediasterling</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Julian Armstrong</dc:creator>
  <cp:lastModifiedBy>Nezar Al-Hadaii</cp:lastModifiedBy>
  <cp:revision>9</cp:revision>
  <dcterms:created xsi:type="dcterms:W3CDTF">2021-05-25T12:15:07Z</dcterms:created>
  <dcterms:modified xsi:type="dcterms:W3CDTF">2023-11-01T15:56:2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 Version">
    <vt:lpwstr>1.0.2</vt:lpwstr>
  </property>
  <property fmtid="{D5CDD505-2E9C-101B-9397-08002B2CF9AE}" pid="3" name="TemplafyTimeStamp">
    <vt:lpwstr>2022-11-24T15:45:01.4294257Z</vt:lpwstr>
  </property>
  <property fmtid="{D5CDD505-2E9C-101B-9397-08002B2CF9AE}" pid="4" name="ContentTypeId">
    <vt:lpwstr>0x01010025CE3C050B28B1498ACC69981F58F1CE</vt:lpwstr>
  </property>
  <property fmtid="{D5CDD505-2E9C-101B-9397-08002B2CF9AE}" pid="5" name="TemplafyTenantId">
    <vt:lpwstr>theglobalfund</vt:lpwstr>
  </property>
  <property fmtid="{D5CDD505-2E9C-101B-9397-08002B2CF9AE}" pid="6" name="TemplafyTemplateId">
    <vt:lpwstr>638034082632226869</vt:lpwstr>
  </property>
  <property fmtid="{D5CDD505-2E9C-101B-9397-08002B2CF9AE}" pid="7" name="TemplafyUserProfileId">
    <vt:lpwstr>636922117783818254</vt:lpwstr>
  </property>
  <property fmtid="{D5CDD505-2E9C-101B-9397-08002B2CF9AE}" pid="8" name="TemplafyLanguageCode">
    <vt:lpwstr>en-US</vt:lpwstr>
  </property>
  <property fmtid="{D5CDD505-2E9C-101B-9397-08002B2CF9AE}" pid="9" name="MediaServiceImageTags">
    <vt:lpwstr/>
  </property>
</Properties>
</file>